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2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3.xml" ContentType="application/vnd.openxmlformats-officedocument.theme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91846" r:id="rId52"/>
    <p:sldMasterId id="2147491945" r:id="rId53"/>
    <p:sldMasterId id="2147483736" r:id="rId54"/>
    <p:sldMasterId id="2147483738" r:id="rId55"/>
  </p:sldMasterIdLst>
  <p:notesMasterIdLst>
    <p:notesMasterId r:id="rId66"/>
  </p:notesMasterIdLst>
  <p:sldIdLst>
    <p:sldId id="2147470816" r:id="rId56"/>
    <p:sldId id="2147470808" r:id="rId57"/>
    <p:sldId id="2147470819" r:id="rId58"/>
    <p:sldId id="2147470810" r:id="rId59"/>
    <p:sldId id="449" r:id="rId60"/>
    <p:sldId id="269" r:id="rId61"/>
    <p:sldId id="2147470820" r:id="rId62"/>
    <p:sldId id="454" r:id="rId63"/>
    <p:sldId id="2147470821" r:id="rId64"/>
    <p:sldId id="272" r:id="rId65"/>
  </p:sldIdLst>
  <p:sldSz cx="9144000" cy="5143500" type="screen16x9"/>
  <p:notesSz cx="6858000" cy="9144000"/>
  <p:custDataLst>
    <p:tags r:id="rId67"/>
  </p:custDataLst>
  <p:defaultTextStyle>
    <a:defPPr>
      <a:defRPr lang="en-US"/>
    </a:defPPr>
    <a:lvl1pPr marL="0" algn="l" defTabSz="91432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2" algn="l" defTabSz="91432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24" algn="l" defTabSz="91432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86" algn="l" defTabSz="91432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48" algn="l" defTabSz="91432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10" algn="l" defTabSz="91432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72" algn="l" defTabSz="91432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33" algn="l" defTabSz="91432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96" algn="l" defTabSz="91432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04ECA13-234C-CBF4-1FC0-E0F41215B0C4}" name="Sam Garrett" initials="SG" userId="S::Garrett.Samantha@mayo.edu::fd3a83f0-9aeb-421b-be0e-4542d7ad2d91" providerId="AD"/>
  <p188:author id="{1A67D416-36FF-5C0A-2D27-937E1EBBE63E}" name="WareJoncas, Zach C." initials="WZC" userId="S::WareJoncas.Zachary@mayo.edu::1c8b02c4-2f7c-4999-a89f-69fae13a5593" providerId="AD"/>
  <p188:author id="{9BBCDC37-585A-0457-890A-7FF5DCE3E91E}" name="Khalid, Sana" initials="KS" userId="S::khalid.sana@mayo.edu::cec7a480-a877-427b-8eb9-07f6cebc4461" providerId="AD"/>
  <p188:author id="{D51C1143-EDFA-DD7E-BB00-52844560A3DD}" name="Sundsbak, Jamie L." initials="SL" userId="S::sundsbak.jamie@mayo.edu::6b7f65c6-9b1f-4596-ae35-1936f1c4f685" providerId="AD"/>
  <p188:author id="{96F1A483-C154-6EB9-A423-218EA9AC14DF}" name="Eric Harnisch" initials="EH" userId="S::Harnisch.Eric@mayo.edu::370f3616-0334-4c7d-851d-da4e0f71e44a" providerId="AD"/>
  <p188:author id="{DF9BB39E-9B80-1632-B8E5-FAEA56AADFE9}" name="WareJoncas, Zachary C. (Zach)" initials="W(" userId="S::warejoncas.zachary@mayo.edu::1c8b02c4-2f7c-4999-a89f-69fae13a5593" providerId="AD"/>
  <p188:author id="{4E6E01DC-1205-3CE0-51DD-E84DAED25174}" name="Ladewig, Dorothy J. (DeJae), M.B.A." initials="LDJ(M" userId="S::ladewig.dorothy@mayo.edu::eec0f180-64cc-4fa5-9690-c3951971467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tley, Clark C., M.D." initials="OM" lastIdx="7" clrIdx="0"/>
  <p:cmAuthor id="2" name="Wampfler, Emily J." initials="WJ" lastIdx="5" clrIdx="1"/>
  <p:cmAuthor id="3" name="Wilke, Chad W., M.B.A." initials="WM" lastIdx="1" clrIdx="2"/>
  <p:cmAuthor id="4" name="Harnisch, Eric L." initials="HL" lastIdx="2" clrIdx="3"/>
  <p:cmAuthor id="5" name="Skandakumaran, Prathib, M.B.A." initials="SM" lastIdx="1" clrIdx="4">
    <p:extLst>
      <p:ext uri="{19B8F6BF-5375-455C-9EA6-DF929625EA0E}">
        <p15:presenceInfo xmlns:p15="http://schemas.microsoft.com/office/powerpoint/2012/main" userId="S::skandakumaran.prathib@mayo.edu::a960931f-c109-4c30-995f-03b7fdd612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2825"/>
    <a:srgbClr val="DBC925"/>
    <a:srgbClr val="25DB4A"/>
    <a:srgbClr val="0E2B8A"/>
    <a:srgbClr val="E1F6FF"/>
    <a:srgbClr val="009CDE"/>
    <a:srgbClr val="AAB4B9"/>
    <a:srgbClr val="E7EFF9"/>
    <a:srgbClr val="CBDEF3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7E2C552-D954-43F6-82D4-61EC565944A3}" v="1" dt="2023-08-07T18:27:06.147"/>
    <p1510:client id="{C40B0ED3-BA25-4FF0-AC8E-D933935BD849}" v="22" vWet="24" dt="2023-08-02T19:55:23.1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2014" autoAdjust="0"/>
  </p:normalViewPr>
  <p:slideViewPr>
    <p:cSldViewPr snapToGrid="0">
      <p:cViewPr varScale="1">
        <p:scale>
          <a:sx n="121" d="100"/>
          <a:sy n="121" d="100"/>
        </p:scale>
        <p:origin x="1314" y="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8.xml"/><Relationship Id="rId6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slideMaster" Target="slideMasters/slideMaster2.xml"/><Relationship Id="rId58" Type="http://schemas.openxmlformats.org/officeDocument/2006/relationships/slide" Target="slides/slide3.xml"/><Relationship Id="rId66" Type="http://schemas.openxmlformats.org/officeDocument/2006/relationships/notesMaster" Target="notesMasters/notesMaster1.xml"/><Relationship Id="rId74" Type="http://schemas.microsoft.com/office/2018/10/relationships/authors" Target="authors.xml"/><Relationship Id="rId5" Type="http://schemas.openxmlformats.org/officeDocument/2006/relationships/customXml" Target="../customXml/item5.xml"/><Relationship Id="rId61" Type="http://schemas.openxmlformats.org/officeDocument/2006/relationships/slide" Target="slides/slide6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slide" Target="slides/slide1.xml"/><Relationship Id="rId64" Type="http://schemas.openxmlformats.org/officeDocument/2006/relationships/slide" Target="slides/slide9.xml"/><Relationship Id="rId69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slide" Target="slides/slide4.xml"/><Relationship Id="rId67" Type="http://schemas.openxmlformats.org/officeDocument/2006/relationships/tags" Target="tags/tag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Master" Target="slideMasters/slideMaster3.xml"/><Relationship Id="rId62" Type="http://schemas.openxmlformats.org/officeDocument/2006/relationships/slide" Target="slides/slide7.xml"/><Relationship Id="rId7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slide" Target="slides/slide2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Master" Target="slideMasters/slideMaster1.xml"/><Relationship Id="rId60" Type="http://schemas.openxmlformats.org/officeDocument/2006/relationships/slide" Target="slides/slide5.xml"/><Relationship Id="rId65" Type="http://schemas.openxmlformats.org/officeDocument/2006/relationships/slide" Target="slides/slide10.xml"/><Relationship Id="rId73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slideMaster" Target="slideMasters/slideMaster4.xml"/><Relationship Id="rId7" Type="http://schemas.openxmlformats.org/officeDocument/2006/relationships/customXml" Target="../customXml/item7.xml"/><Relationship Id="rId71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A4BF18-7F9A-4057-8F9C-528A39661128}" type="doc">
      <dgm:prSet loTypeId="urn:microsoft.com/office/officeart/2005/8/layout/list1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2EE146BB-9C34-46EE-B67A-D7750F8807C2}">
      <dgm:prSet custT="1"/>
      <dgm:spPr/>
      <dgm:t>
        <a:bodyPr/>
        <a:lstStyle/>
        <a:p>
          <a:r>
            <a:rPr lang="en-US" sz="1800" b="1">
              <a:latin typeface="Arial"/>
              <a:cs typeface="Arial"/>
            </a:rPr>
            <a:t>ICD-10 &amp; ICD-10-CM to CUI</a:t>
          </a:r>
        </a:p>
      </dgm:t>
    </dgm:pt>
    <dgm:pt modelId="{0257FC0E-BB53-44D9-BA7D-9E43C9E2E03A}" type="parTrans" cxnId="{5D13EAA1-30CC-4911-ABBD-17B31960F973}">
      <dgm:prSet/>
      <dgm:spPr/>
      <dgm:t>
        <a:bodyPr/>
        <a:lstStyle/>
        <a:p>
          <a:endParaRPr lang="en-US" sz="1400"/>
        </a:p>
      </dgm:t>
    </dgm:pt>
    <dgm:pt modelId="{83F46BEC-1995-4D62-805D-5A0F749506CF}" type="sibTrans" cxnId="{5D13EAA1-30CC-4911-ABBD-17B31960F973}">
      <dgm:prSet/>
      <dgm:spPr/>
      <dgm:t>
        <a:bodyPr/>
        <a:lstStyle/>
        <a:p>
          <a:endParaRPr lang="en-US" sz="1400"/>
        </a:p>
      </dgm:t>
    </dgm:pt>
    <dgm:pt modelId="{7309EDC2-EE2F-4D13-B2FD-C21D598CD274}">
      <dgm:prSet custT="1"/>
      <dgm:spPr/>
      <dgm:t>
        <a:bodyPr/>
        <a:lstStyle/>
        <a:p>
          <a:r>
            <a:rPr lang="en-US" sz="1200">
              <a:latin typeface="Arial"/>
              <a:cs typeface="Arial"/>
            </a:rPr>
            <a:t>Source: ICD-10 from CMS.gov; ICD-10-CM from AHRQ</a:t>
          </a:r>
        </a:p>
      </dgm:t>
    </dgm:pt>
    <dgm:pt modelId="{28B9C609-59DF-42CD-BC57-6228A7B879DA}" type="parTrans" cxnId="{F97EB939-1D88-407E-B386-20B9CBEC953C}">
      <dgm:prSet/>
      <dgm:spPr/>
      <dgm:t>
        <a:bodyPr/>
        <a:lstStyle/>
        <a:p>
          <a:endParaRPr lang="en-US" sz="1400"/>
        </a:p>
      </dgm:t>
    </dgm:pt>
    <dgm:pt modelId="{3E183840-B96A-4FEC-BF87-E26C6A914CCC}" type="sibTrans" cxnId="{F97EB939-1D88-407E-B386-20B9CBEC953C}">
      <dgm:prSet/>
      <dgm:spPr/>
      <dgm:t>
        <a:bodyPr/>
        <a:lstStyle/>
        <a:p>
          <a:endParaRPr lang="en-US" sz="1400"/>
        </a:p>
      </dgm:t>
    </dgm:pt>
    <dgm:pt modelId="{75F8B171-BB80-4640-985F-3DD755E8FA81}">
      <dgm:prSet custT="1"/>
      <dgm:spPr/>
      <dgm:t>
        <a:bodyPr/>
        <a:lstStyle/>
        <a:p>
          <a:pPr rtl="0"/>
          <a:r>
            <a:rPr lang="en-US" sz="1200">
              <a:latin typeface="Arial"/>
              <a:cs typeface="Arial"/>
            </a:rPr>
            <a:t>Original number: </a:t>
          </a:r>
          <a:r>
            <a:rPr lang="en-US" sz="1200" b="1">
              <a:latin typeface="Arial"/>
              <a:cs typeface="Arial"/>
            </a:rPr>
            <a:t>72,836</a:t>
          </a:r>
          <a:r>
            <a:rPr lang="en-US" sz="1200">
              <a:latin typeface="Arial"/>
              <a:cs typeface="Arial"/>
            </a:rPr>
            <a:t> ICD-10 codes &amp; </a:t>
          </a:r>
          <a:r>
            <a:rPr lang="en-US" sz="1200" b="1">
              <a:latin typeface="Arial"/>
              <a:cs typeface="Arial"/>
            </a:rPr>
            <a:t>74,549</a:t>
          </a:r>
          <a:r>
            <a:rPr lang="en-US" sz="1200">
              <a:latin typeface="Arial"/>
              <a:cs typeface="Arial"/>
            </a:rPr>
            <a:t> ICD-10-CM codes </a:t>
          </a:r>
        </a:p>
      </dgm:t>
    </dgm:pt>
    <dgm:pt modelId="{D3F90241-16FE-405B-B73E-BD3FD9515DB9}" type="parTrans" cxnId="{F7DB14C4-C662-4A85-9A11-E9C6E9C42715}">
      <dgm:prSet/>
      <dgm:spPr/>
      <dgm:t>
        <a:bodyPr/>
        <a:lstStyle/>
        <a:p>
          <a:endParaRPr lang="en-US" sz="1400"/>
        </a:p>
      </dgm:t>
    </dgm:pt>
    <dgm:pt modelId="{BE1D463A-9583-40D8-9627-F5121E0912C6}" type="sibTrans" cxnId="{F7DB14C4-C662-4A85-9A11-E9C6E9C42715}">
      <dgm:prSet/>
      <dgm:spPr/>
      <dgm:t>
        <a:bodyPr/>
        <a:lstStyle/>
        <a:p>
          <a:endParaRPr lang="en-US" sz="1400"/>
        </a:p>
      </dgm:t>
    </dgm:pt>
    <dgm:pt modelId="{EFDE0B50-0E75-45EA-8048-CD0245379738}">
      <dgm:prSet custT="1"/>
      <dgm:spPr/>
      <dgm:t>
        <a:bodyPr/>
        <a:lstStyle/>
        <a:p>
          <a:r>
            <a:rPr lang="en-US" sz="1800" b="1">
              <a:latin typeface="Arial"/>
              <a:cs typeface="Arial"/>
            </a:rPr>
            <a:t>ICD-9 &amp; ICD-9-CM to CUI</a:t>
          </a:r>
        </a:p>
      </dgm:t>
    </dgm:pt>
    <dgm:pt modelId="{0F9AC8DC-0310-4B9C-ADAB-EA2A7AEB480B}" type="parTrans" cxnId="{F3D335A7-B452-4902-A175-74604836E7B4}">
      <dgm:prSet/>
      <dgm:spPr/>
      <dgm:t>
        <a:bodyPr/>
        <a:lstStyle/>
        <a:p>
          <a:endParaRPr lang="en-US" sz="1400"/>
        </a:p>
      </dgm:t>
    </dgm:pt>
    <dgm:pt modelId="{B6A37E16-778F-44C7-B89A-C6A28C1FC68E}" type="sibTrans" cxnId="{F3D335A7-B452-4902-A175-74604836E7B4}">
      <dgm:prSet/>
      <dgm:spPr/>
      <dgm:t>
        <a:bodyPr/>
        <a:lstStyle/>
        <a:p>
          <a:endParaRPr lang="en-US" sz="1400"/>
        </a:p>
      </dgm:t>
    </dgm:pt>
    <dgm:pt modelId="{94AEF49A-69B8-42FC-ADBF-B2C986F0A0CA}">
      <dgm:prSet custT="1"/>
      <dgm:spPr/>
      <dgm:t>
        <a:bodyPr/>
        <a:lstStyle/>
        <a:p>
          <a:r>
            <a:rPr lang="en-US" sz="1200">
              <a:latin typeface="Arial"/>
              <a:cs typeface="Arial"/>
            </a:rPr>
            <a:t>Source: ICD-9 &amp; ICD-9-CM from CMS.gov</a:t>
          </a:r>
        </a:p>
      </dgm:t>
    </dgm:pt>
    <dgm:pt modelId="{C79E9B95-562F-4C8F-9607-D8B1A64239A7}" type="parTrans" cxnId="{2EB6D041-F048-44D4-9E1A-05AF6A343715}">
      <dgm:prSet/>
      <dgm:spPr/>
      <dgm:t>
        <a:bodyPr/>
        <a:lstStyle/>
        <a:p>
          <a:endParaRPr lang="en-US" sz="1400"/>
        </a:p>
      </dgm:t>
    </dgm:pt>
    <dgm:pt modelId="{74E4F636-243C-4126-A49E-7A26EF0D35E8}" type="sibTrans" cxnId="{2EB6D041-F048-44D4-9E1A-05AF6A343715}">
      <dgm:prSet/>
      <dgm:spPr/>
      <dgm:t>
        <a:bodyPr/>
        <a:lstStyle/>
        <a:p>
          <a:endParaRPr lang="en-US" sz="1400"/>
        </a:p>
      </dgm:t>
    </dgm:pt>
    <dgm:pt modelId="{1C7600CA-1C6E-409A-B5DF-CE25EB9438BB}">
      <dgm:prSet custT="1"/>
      <dgm:spPr/>
      <dgm:t>
        <a:bodyPr/>
        <a:lstStyle/>
        <a:p>
          <a:pPr rtl="0"/>
          <a:r>
            <a:rPr lang="en-US" sz="1200">
              <a:latin typeface="Arial"/>
              <a:cs typeface="Arial"/>
            </a:rPr>
            <a:t>Original number: </a:t>
          </a:r>
          <a:r>
            <a:rPr lang="en-US" sz="1200" b="1">
              <a:latin typeface="Arial"/>
              <a:cs typeface="Arial"/>
            </a:rPr>
            <a:t>13,521</a:t>
          </a:r>
          <a:r>
            <a:rPr lang="en-US" sz="1200">
              <a:latin typeface="Arial"/>
              <a:cs typeface="Arial"/>
            </a:rPr>
            <a:t> ICD-9 codes &amp; </a:t>
          </a:r>
          <a:r>
            <a:rPr lang="en-US" sz="1200" b="1">
              <a:latin typeface="Arial"/>
              <a:cs typeface="Arial"/>
            </a:rPr>
            <a:t>14,567</a:t>
          </a:r>
          <a:r>
            <a:rPr lang="en-US" sz="1200">
              <a:latin typeface="Arial"/>
              <a:cs typeface="Arial"/>
            </a:rPr>
            <a:t> ICD-9-CM codes </a:t>
          </a:r>
        </a:p>
      </dgm:t>
    </dgm:pt>
    <dgm:pt modelId="{4B71C254-8C5F-4313-BA7A-DBD320637332}" type="parTrans" cxnId="{5ABDC7C4-6568-487F-86FE-0B80A116EC3D}">
      <dgm:prSet/>
      <dgm:spPr/>
      <dgm:t>
        <a:bodyPr/>
        <a:lstStyle/>
        <a:p>
          <a:endParaRPr lang="en-US" sz="1400"/>
        </a:p>
      </dgm:t>
    </dgm:pt>
    <dgm:pt modelId="{F4206C77-44A2-4741-B4AA-AFC78472738C}" type="sibTrans" cxnId="{5ABDC7C4-6568-487F-86FE-0B80A116EC3D}">
      <dgm:prSet/>
      <dgm:spPr/>
      <dgm:t>
        <a:bodyPr/>
        <a:lstStyle/>
        <a:p>
          <a:endParaRPr lang="en-US" sz="1400"/>
        </a:p>
      </dgm:t>
    </dgm:pt>
    <dgm:pt modelId="{0782F109-8A22-45A4-ACCE-E4A0B86E7D55}">
      <dgm:prSet custT="1"/>
      <dgm:spPr/>
      <dgm:t>
        <a:bodyPr/>
        <a:lstStyle/>
        <a:p>
          <a:r>
            <a:rPr lang="en-US" sz="1200" b="1">
              <a:latin typeface="Arial"/>
              <a:cs typeface="Arial"/>
            </a:rPr>
            <a:t>11,046</a:t>
          </a:r>
          <a:r>
            <a:rPr lang="en-US" sz="1200">
              <a:latin typeface="Arial"/>
              <a:cs typeface="Arial"/>
            </a:rPr>
            <a:t> ICD-9 codes mapped to CUI </a:t>
          </a:r>
          <a:r>
            <a:rPr lang="en-US" sz="1100">
              <a:latin typeface="Arial"/>
              <a:cs typeface="Arial"/>
            </a:rPr>
            <a:t>(2475 unmapped; </a:t>
          </a:r>
          <a:r>
            <a:rPr lang="en-US" sz="1100" b="1">
              <a:latin typeface="Arial"/>
              <a:cs typeface="Arial"/>
            </a:rPr>
            <a:t>18.3%</a:t>
          </a:r>
          <a:r>
            <a:rPr lang="en-US" sz="1100">
              <a:latin typeface="Arial"/>
              <a:cs typeface="Arial"/>
            </a:rPr>
            <a:t> unmapped)</a:t>
          </a:r>
        </a:p>
      </dgm:t>
    </dgm:pt>
    <dgm:pt modelId="{F86E7F2E-B59B-4A59-8C04-93473E5F3E30}" type="parTrans" cxnId="{7C09C25D-68F7-4E34-A657-2B4C16073684}">
      <dgm:prSet/>
      <dgm:spPr/>
      <dgm:t>
        <a:bodyPr/>
        <a:lstStyle/>
        <a:p>
          <a:endParaRPr lang="en-US" sz="1400"/>
        </a:p>
      </dgm:t>
    </dgm:pt>
    <dgm:pt modelId="{0D5C4DC9-09E7-4FD2-94C9-209105480E7C}" type="sibTrans" cxnId="{7C09C25D-68F7-4E34-A657-2B4C16073684}">
      <dgm:prSet/>
      <dgm:spPr/>
      <dgm:t>
        <a:bodyPr/>
        <a:lstStyle/>
        <a:p>
          <a:endParaRPr lang="en-US" sz="1400"/>
        </a:p>
      </dgm:t>
    </dgm:pt>
    <dgm:pt modelId="{CB511832-2FAE-46BC-8167-181F83F79F0F}">
      <dgm:prSet custT="1"/>
      <dgm:spPr/>
      <dgm:t>
        <a:bodyPr/>
        <a:lstStyle/>
        <a:p>
          <a:r>
            <a:rPr lang="en-US" sz="1200" b="1">
              <a:latin typeface="Arial"/>
              <a:cs typeface="Arial"/>
            </a:rPr>
            <a:t>13,171</a:t>
          </a:r>
          <a:r>
            <a:rPr lang="en-US" sz="1200">
              <a:latin typeface="Arial"/>
              <a:cs typeface="Arial"/>
            </a:rPr>
            <a:t> ICD-9-CM codes mapped to CUI </a:t>
          </a:r>
          <a:r>
            <a:rPr lang="en-US" sz="1100">
              <a:latin typeface="Arial"/>
              <a:cs typeface="Arial"/>
            </a:rPr>
            <a:t>(1396 unmapped; </a:t>
          </a:r>
          <a:r>
            <a:rPr lang="en-US" sz="1100" b="1">
              <a:latin typeface="Arial"/>
              <a:cs typeface="Arial"/>
            </a:rPr>
            <a:t>9.58% </a:t>
          </a:r>
          <a:r>
            <a:rPr lang="en-US" sz="1100">
              <a:latin typeface="Arial"/>
              <a:cs typeface="Arial"/>
            </a:rPr>
            <a:t>unmapped)</a:t>
          </a:r>
        </a:p>
      </dgm:t>
    </dgm:pt>
    <dgm:pt modelId="{A89909CE-0899-41BF-90CC-08DBEEF6A2C0}" type="parTrans" cxnId="{682AC53E-0290-4055-A158-CD6D84C37155}">
      <dgm:prSet/>
      <dgm:spPr/>
      <dgm:t>
        <a:bodyPr/>
        <a:lstStyle/>
        <a:p>
          <a:endParaRPr lang="en-US" sz="1400"/>
        </a:p>
      </dgm:t>
    </dgm:pt>
    <dgm:pt modelId="{4522B70F-F518-4733-9551-6393F2669DFE}" type="sibTrans" cxnId="{682AC53E-0290-4055-A158-CD6D84C37155}">
      <dgm:prSet/>
      <dgm:spPr/>
      <dgm:t>
        <a:bodyPr/>
        <a:lstStyle/>
        <a:p>
          <a:endParaRPr lang="en-US" sz="1400"/>
        </a:p>
      </dgm:t>
    </dgm:pt>
    <dgm:pt modelId="{57707899-ABFF-476D-82F8-F9C367B339D7}">
      <dgm:prSet custT="1"/>
      <dgm:spPr/>
      <dgm:t>
        <a:bodyPr/>
        <a:lstStyle/>
        <a:p>
          <a:r>
            <a:rPr lang="en-US" sz="1200" b="1">
              <a:latin typeface="Arial"/>
              <a:cs typeface="Arial"/>
            </a:rPr>
            <a:t>71,537 </a:t>
          </a:r>
          <a:r>
            <a:rPr lang="en-US" sz="1200">
              <a:latin typeface="Arial"/>
              <a:cs typeface="Arial"/>
            </a:rPr>
            <a:t>ICD-10 codes mapped to CUI </a:t>
          </a:r>
          <a:r>
            <a:rPr lang="en-US" sz="1100">
              <a:latin typeface="Arial"/>
              <a:cs typeface="Arial"/>
            </a:rPr>
            <a:t>(1299 unmapped; </a:t>
          </a:r>
          <a:r>
            <a:rPr lang="en-US" sz="1100" b="1">
              <a:latin typeface="Arial"/>
              <a:cs typeface="Arial"/>
            </a:rPr>
            <a:t>1.78%</a:t>
          </a:r>
          <a:r>
            <a:rPr lang="en-US" sz="1100">
              <a:latin typeface="Arial"/>
              <a:cs typeface="Arial"/>
            </a:rPr>
            <a:t> unmapped)</a:t>
          </a:r>
        </a:p>
      </dgm:t>
    </dgm:pt>
    <dgm:pt modelId="{A7672851-9E64-43DB-A05E-7CF6613E1D25}" type="parTrans" cxnId="{E1068122-D583-414F-B9CF-CEC69408C9F8}">
      <dgm:prSet/>
      <dgm:spPr/>
      <dgm:t>
        <a:bodyPr/>
        <a:lstStyle/>
        <a:p>
          <a:endParaRPr lang="en-US" sz="1400"/>
        </a:p>
      </dgm:t>
    </dgm:pt>
    <dgm:pt modelId="{39C0F64E-CB5F-46F9-BD65-31DD2759A5A9}" type="sibTrans" cxnId="{E1068122-D583-414F-B9CF-CEC69408C9F8}">
      <dgm:prSet/>
      <dgm:spPr/>
      <dgm:t>
        <a:bodyPr/>
        <a:lstStyle/>
        <a:p>
          <a:endParaRPr lang="en-US" sz="1400"/>
        </a:p>
      </dgm:t>
    </dgm:pt>
    <dgm:pt modelId="{B0BA10F5-0063-48B7-8822-431FBC8AF6FD}">
      <dgm:prSet custT="1"/>
      <dgm:spPr/>
      <dgm:t>
        <a:bodyPr/>
        <a:lstStyle/>
        <a:p>
          <a:r>
            <a:rPr lang="en-US" sz="1200" b="1">
              <a:latin typeface="Arial"/>
              <a:cs typeface="Arial"/>
            </a:rPr>
            <a:t>73,610</a:t>
          </a:r>
          <a:r>
            <a:rPr lang="en-US" sz="1200">
              <a:latin typeface="Arial"/>
              <a:cs typeface="Arial"/>
            </a:rPr>
            <a:t> ICD-10-CM codes mapped to CUI </a:t>
          </a:r>
          <a:r>
            <a:rPr lang="en-US" sz="1100">
              <a:latin typeface="Arial"/>
              <a:cs typeface="Arial"/>
            </a:rPr>
            <a:t>(939 unmapped </a:t>
          </a:r>
          <a:r>
            <a:rPr lang="en-US" sz="1100" b="1">
              <a:latin typeface="Arial"/>
              <a:cs typeface="Arial"/>
            </a:rPr>
            <a:t>1.26%</a:t>
          </a:r>
          <a:r>
            <a:rPr lang="en-US" sz="1100">
              <a:latin typeface="Arial"/>
              <a:cs typeface="Arial"/>
            </a:rPr>
            <a:t> unmapped)</a:t>
          </a:r>
        </a:p>
      </dgm:t>
    </dgm:pt>
    <dgm:pt modelId="{3D1F7785-D6F5-45B7-AFBF-728DBF422B9E}" type="parTrans" cxnId="{2F6D9FB3-2253-41AF-8885-2DE0E1324E77}">
      <dgm:prSet/>
      <dgm:spPr/>
      <dgm:t>
        <a:bodyPr/>
        <a:lstStyle/>
        <a:p>
          <a:endParaRPr lang="en-US" sz="1400"/>
        </a:p>
      </dgm:t>
    </dgm:pt>
    <dgm:pt modelId="{08C897EF-C378-4739-AA55-A83F32713413}" type="sibTrans" cxnId="{2F6D9FB3-2253-41AF-8885-2DE0E1324E77}">
      <dgm:prSet/>
      <dgm:spPr/>
      <dgm:t>
        <a:bodyPr/>
        <a:lstStyle/>
        <a:p>
          <a:endParaRPr lang="en-US" sz="1400"/>
        </a:p>
      </dgm:t>
    </dgm:pt>
    <dgm:pt modelId="{D06A3309-9F81-447C-9600-7AF145888220}">
      <dgm:prSet custT="1"/>
      <dgm:spPr/>
      <dgm:t>
        <a:bodyPr/>
        <a:lstStyle/>
        <a:p>
          <a:r>
            <a:rPr lang="en-US" sz="1800" b="1">
              <a:latin typeface="Arial"/>
              <a:cs typeface="Arial"/>
            </a:rPr>
            <a:t>SNOMED CT</a:t>
          </a:r>
        </a:p>
      </dgm:t>
    </dgm:pt>
    <dgm:pt modelId="{EBA6D1B9-A46E-437D-9821-D1D6A3D653A2}" type="parTrans" cxnId="{77826CDF-B856-413C-8B78-A30466DE0293}">
      <dgm:prSet/>
      <dgm:spPr/>
      <dgm:t>
        <a:bodyPr/>
        <a:lstStyle/>
        <a:p>
          <a:endParaRPr lang="en-US" sz="1400"/>
        </a:p>
      </dgm:t>
    </dgm:pt>
    <dgm:pt modelId="{32EF0504-B316-40B8-B336-C55B7D3B7229}" type="sibTrans" cxnId="{77826CDF-B856-413C-8B78-A30466DE0293}">
      <dgm:prSet/>
      <dgm:spPr/>
      <dgm:t>
        <a:bodyPr/>
        <a:lstStyle/>
        <a:p>
          <a:endParaRPr lang="en-US" sz="1400"/>
        </a:p>
      </dgm:t>
    </dgm:pt>
    <dgm:pt modelId="{8D36D022-AD90-45A3-B78C-161F4691E898}">
      <dgm:prSet custT="1"/>
      <dgm:spPr/>
      <dgm:t>
        <a:bodyPr/>
        <a:lstStyle/>
        <a:p>
          <a:r>
            <a:rPr lang="en-US" sz="1200">
              <a:latin typeface="Arial"/>
              <a:cs typeface="Arial"/>
            </a:rPr>
            <a:t>Source: UMLS</a:t>
          </a:r>
        </a:p>
      </dgm:t>
    </dgm:pt>
    <dgm:pt modelId="{B8E79350-88DF-43FD-84B9-22C28B4FB122}" type="parTrans" cxnId="{F4D003AC-76EA-4A0D-803B-047B257D8E8F}">
      <dgm:prSet/>
      <dgm:spPr/>
      <dgm:t>
        <a:bodyPr/>
        <a:lstStyle/>
        <a:p>
          <a:endParaRPr lang="en-US" sz="1400"/>
        </a:p>
      </dgm:t>
    </dgm:pt>
    <dgm:pt modelId="{CE2D24E7-B8D5-4B9D-A303-2561C8528346}" type="sibTrans" cxnId="{F4D003AC-76EA-4A0D-803B-047B257D8E8F}">
      <dgm:prSet/>
      <dgm:spPr/>
      <dgm:t>
        <a:bodyPr/>
        <a:lstStyle/>
        <a:p>
          <a:endParaRPr lang="en-US" sz="1400"/>
        </a:p>
      </dgm:t>
    </dgm:pt>
    <dgm:pt modelId="{E8A6F0B1-2836-417D-9216-D5EC1B5FCC67}">
      <dgm:prSet custT="1"/>
      <dgm:spPr/>
      <dgm:t>
        <a:bodyPr/>
        <a:lstStyle/>
        <a:p>
          <a:r>
            <a:rPr lang="en-US" sz="1200">
              <a:latin typeface="Arial"/>
              <a:cs typeface="Arial"/>
            </a:rPr>
            <a:t>Original number: 508,540 SNOMED CT concepts</a:t>
          </a:r>
        </a:p>
      </dgm:t>
    </dgm:pt>
    <dgm:pt modelId="{45C2E132-705E-4570-AEB0-972DA654FCC8}" type="parTrans" cxnId="{394D5191-ADEA-4EA6-A8EC-4C5C49ADD349}">
      <dgm:prSet/>
      <dgm:spPr/>
      <dgm:t>
        <a:bodyPr/>
        <a:lstStyle/>
        <a:p>
          <a:endParaRPr lang="en-US" sz="1400"/>
        </a:p>
      </dgm:t>
    </dgm:pt>
    <dgm:pt modelId="{F5510723-09AB-41CC-ABCA-7B0945747CEB}" type="sibTrans" cxnId="{394D5191-ADEA-4EA6-A8EC-4C5C49ADD349}">
      <dgm:prSet/>
      <dgm:spPr/>
      <dgm:t>
        <a:bodyPr/>
        <a:lstStyle/>
        <a:p>
          <a:endParaRPr lang="en-US" sz="1400"/>
        </a:p>
      </dgm:t>
    </dgm:pt>
    <dgm:pt modelId="{BFBE9538-8B82-4A91-B467-BBEE146B0E1C}">
      <dgm:prSet custT="1"/>
      <dgm:spPr/>
      <dgm:t>
        <a:bodyPr/>
        <a:lstStyle/>
        <a:p>
          <a:r>
            <a:rPr lang="en-US" sz="1200" b="1">
              <a:latin typeface="Arial"/>
              <a:cs typeface="Arial"/>
            </a:rPr>
            <a:t>325,816</a:t>
          </a:r>
          <a:r>
            <a:rPr lang="en-US" sz="1200">
              <a:latin typeface="Arial"/>
              <a:cs typeface="Arial"/>
            </a:rPr>
            <a:t> SNOMED CT concepts mapped to CUI </a:t>
          </a:r>
          <a:r>
            <a:rPr lang="en-US" sz="1100">
              <a:latin typeface="Arial"/>
              <a:cs typeface="Arial"/>
            </a:rPr>
            <a:t>(182,724 unmapped; </a:t>
          </a:r>
          <a:r>
            <a:rPr lang="en-US" sz="1100" b="1">
              <a:latin typeface="Arial"/>
              <a:cs typeface="Arial"/>
            </a:rPr>
            <a:t>35.9%</a:t>
          </a:r>
          <a:r>
            <a:rPr lang="en-US" sz="1100">
              <a:latin typeface="Arial"/>
              <a:cs typeface="Arial"/>
            </a:rPr>
            <a:t> unmapped)</a:t>
          </a:r>
        </a:p>
      </dgm:t>
    </dgm:pt>
    <dgm:pt modelId="{60699C1F-B3AE-42B6-BDD0-40C49E38FA7C}" type="parTrans" cxnId="{DCE4C212-49AA-4A46-82DE-DB7423A61DAA}">
      <dgm:prSet/>
      <dgm:spPr/>
      <dgm:t>
        <a:bodyPr/>
        <a:lstStyle/>
        <a:p>
          <a:endParaRPr lang="en-US" sz="1400"/>
        </a:p>
      </dgm:t>
    </dgm:pt>
    <dgm:pt modelId="{3694ACD2-9183-4B2A-9A3B-DE28E1C27D8E}" type="sibTrans" cxnId="{DCE4C212-49AA-4A46-82DE-DB7423A61DAA}">
      <dgm:prSet/>
      <dgm:spPr/>
      <dgm:t>
        <a:bodyPr/>
        <a:lstStyle/>
        <a:p>
          <a:endParaRPr lang="en-US" sz="1400"/>
        </a:p>
      </dgm:t>
    </dgm:pt>
    <dgm:pt modelId="{C21EC49C-93C5-43F5-8FB8-C5084F26200D}" type="pres">
      <dgm:prSet presAssocID="{63A4BF18-7F9A-4057-8F9C-528A39661128}" presName="linear" presStyleCnt="0">
        <dgm:presLayoutVars>
          <dgm:dir/>
          <dgm:animLvl val="lvl"/>
          <dgm:resizeHandles val="exact"/>
        </dgm:presLayoutVars>
      </dgm:prSet>
      <dgm:spPr/>
    </dgm:pt>
    <dgm:pt modelId="{DF277D69-FCBB-4395-B6DD-EBAD6F48B231}" type="pres">
      <dgm:prSet presAssocID="{2EE146BB-9C34-46EE-B67A-D7750F8807C2}" presName="parentLin" presStyleCnt="0"/>
      <dgm:spPr/>
    </dgm:pt>
    <dgm:pt modelId="{7A3F7D76-3D64-4A6C-B258-9851EEBED99F}" type="pres">
      <dgm:prSet presAssocID="{2EE146BB-9C34-46EE-B67A-D7750F8807C2}" presName="parentLeftMargin" presStyleLbl="node1" presStyleIdx="0" presStyleCnt="3"/>
      <dgm:spPr/>
    </dgm:pt>
    <dgm:pt modelId="{50E0CD42-E392-401A-9F53-2C81385996BC}" type="pres">
      <dgm:prSet presAssocID="{2EE146BB-9C34-46EE-B67A-D7750F8807C2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78A007DC-57AD-4A7B-AC33-1BEEEC042734}" type="pres">
      <dgm:prSet presAssocID="{2EE146BB-9C34-46EE-B67A-D7750F8807C2}" presName="negativeSpace" presStyleCnt="0"/>
      <dgm:spPr/>
    </dgm:pt>
    <dgm:pt modelId="{3DAFDA0C-A85E-45EB-AF57-CF061080D4FB}" type="pres">
      <dgm:prSet presAssocID="{2EE146BB-9C34-46EE-B67A-D7750F8807C2}" presName="childText" presStyleLbl="conFgAcc1" presStyleIdx="0" presStyleCnt="3">
        <dgm:presLayoutVars>
          <dgm:bulletEnabled val="1"/>
        </dgm:presLayoutVars>
      </dgm:prSet>
      <dgm:spPr/>
    </dgm:pt>
    <dgm:pt modelId="{418980CB-2955-4466-96BD-F65937FDAC12}" type="pres">
      <dgm:prSet presAssocID="{83F46BEC-1995-4D62-805D-5A0F749506CF}" presName="spaceBetweenRectangles" presStyleCnt="0"/>
      <dgm:spPr/>
    </dgm:pt>
    <dgm:pt modelId="{C71C404C-E54C-4220-93A5-0DCFF16953EC}" type="pres">
      <dgm:prSet presAssocID="{EFDE0B50-0E75-45EA-8048-CD0245379738}" presName="parentLin" presStyleCnt="0"/>
      <dgm:spPr/>
    </dgm:pt>
    <dgm:pt modelId="{D3D36649-9720-477A-9481-F1644430A275}" type="pres">
      <dgm:prSet presAssocID="{EFDE0B50-0E75-45EA-8048-CD0245379738}" presName="parentLeftMargin" presStyleLbl="node1" presStyleIdx="0" presStyleCnt="3"/>
      <dgm:spPr/>
    </dgm:pt>
    <dgm:pt modelId="{23AA9B83-D89E-47BB-AF21-E0995F79317D}" type="pres">
      <dgm:prSet presAssocID="{EFDE0B50-0E75-45EA-8048-CD0245379738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A76B49E-3248-4DFF-832C-94CFA8C8841A}" type="pres">
      <dgm:prSet presAssocID="{EFDE0B50-0E75-45EA-8048-CD0245379738}" presName="negativeSpace" presStyleCnt="0"/>
      <dgm:spPr/>
    </dgm:pt>
    <dgm:pt modelId="{E75C49C2-71B1-4148-9B80-72C3C1A610F3}" type="pres">
      <dgm:prSet presAssocID="{EFDE0B50-0E75-45EA-8048-CD0245379738}" presName="childText" presStyleLbl="conFgAcc1" presStyleIdx="1" presStyleCnt="3" custLinFactNeighborY="-8541">
        <dgm:presLayoutVars>
          <dgm:bulletEnabled val="1"/>
        </dgm:presLayoutVars>
      </dgm:prSet>
      <dgm:spPr/>
    </dgm:pt>
    <dgm:pt modelId="{C906253E-E286-43E6-857D-418175692BF9}" type="pres">
      <dgm:prSet presAssocID="{B6A37E16-778F-44C7-B89A-C6A28C1FC68E}" presName="spaceBetweenRectangles" presStyleCnt="0"/>
      <dgm:spPr/>
    </dgm:pt>
    <dgm:pt modelId="{80C4F910-B705-4DA1-A91D-8C910E006B5D}" type="pres">
      <dgm:prSet presAssocID="{D06A3309-9F81-447C-9600-7AF145888220}" presName="parentLin" presStyleCnt="0"/>
      <dgm:spPr/>
    </dgm:pt>
    <dgm:pt modelId="{B5E13345-F154-4097-80E1-3D34FF8AA68D}" type="pres">
      <dgm:prSet presAssocID="{D06A3309-9F81-447C-9600-7AF145888220}" presName="parentLeftMargin" presStyleLbl="node1" presStyleIdx="1" presStyleCnt="3"/>
      <dgm:spPr/>
    </dgm:pt>
    <dgm:pt modelId="{E8CF3353-DB5E-40CA-A60B-9D30F1AF97C7}" type="pres">
      <dgm:prSet presAssocID="{D06A3309-9F81-447C-9600-7AF145888220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9C76B143-62E4-4C01-84CC-AE5921323AA0}" type="pres">
      <dgm:prSet presAssocID="{D06A3309-9F81-447C-9600-7AF145888220}" presName="negativeSpace" presStyleCnt="0"/>
      <dgm:spPr/>
    </dgm:pt>
    <dgm:pt modelId="{D0EE143E-8A93-45BB-BD3B-EE4A38480A12}" type="pres">
      <dgm:prSet presAssocID="{D06A3309-9F81-447C-9600-7AF145888220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DCE4C212-49AA-4A46-82DE-DB7423A61DAA}" srcId="{D06A3309-9F81-447C-9600-7AF145888220}" destId="{BFBE9538-8B82-4A91-B467-BBEE146B0E1C}" srcOrd="2" destOrd="0" parTransId="{60699C1F-B3AE-42B6-BDD0-40C49E38FA7C}" sibTransId="{3694ACD2-9183-4B2A-9A3B-DE28E1C27D8E}"/>
    <dgm:cxn modelId="{584A0618-9DAA-410E-95E8-9352E58C877B}" type="presOf" srcId="{CB511832-2FAE-46BC-8167-181F83F79F0F}" destId="{E75C49C2-71B1-4148-9B80-72C3C1A610F3}" srcOrd="0" destOrd="3" presId="urn:microsoft.com/office/officeart/2005/8/layout/list1"/>
    <dgm:cxn modelId="{E1068122-D583-414F-B9CF-CEC69408C9F8}" srcId="{2EE146BB-9C34-46EE-B67A-D7750F8807C2}" destId="{57707899-ABFF-476D-82F8-F9C367B339D7}" srcOrd="2" destOrd="0" parTransId="{A7672851-9E64-43DB-A05E-7CF6613E1D25}" sibTransId="{39C0F64E-CB5F-46F9-BD65-31DD2759A5A9}"/>
    <dgm:cxn modelId="{F97EB939-1D88-407E-B386-20B9CBEC953C}" srcId="{2EE146BB-9C34-46EE-B67A-D7750F8807C2}" destId="{7309EDC2-EE2F-4D13-B2FD-C21D598CD274}" srcOrd="0" destOrd="0" parTransId="{28B9C609-59DF-42CD-BC57-6228A7B879DA}" sibTransId="{3E183840-B96A-4FEC-BF87-E26C6A914CCC}"/>
    <dgm:cxn modelId="{682AC53E-0290-4055-A158-CD6D84C37155}" srcId="{EFDE0B50-0E75-45EA-8048-CD0245379738}" destId="{CB511832-2FAE-46BC-8167-181F83F79F0F}" srcOrd="3" destOrd="0" parTransId="{A89909CE-0899-41BF-90CC-08DBEEF6A2C0}" sibTransId="{4522B70F-F518-4733-9551-6393F2669DFE}"/>
    <dgm:cxn modelId="{E350115D-CC5C-4C8C-8AAE-E803ADC75222}" type="presOf" srcId="{D06A3309-9F81-447C-9600-7AF145888220}" destId="{E8CF3353-DB5E-40CA-A60B-9D30F1AF97C7}" srcOrd="1" destOrd="0" presId="urn:microsoft.com/office/officeart/2005/8/layout/list1"/>
    <dgm:cxn modelId="{340C505D-3A9D-430C-BD07-06B70478C829}" type="presOf" srcId="{B0BA10F5-0063-48B7-8822-431FBC8AF6FD}" destId="{3DAFDA0C-A85E-45EB-AF57-CF061080D4FB}" srcOrd="0" destOrd="3" presId="urn:microsoft.com/office/officeart/2005/8/layout/list1"/>
    <dgm:cxn modelId="{7C09C25D-68F7-4E34-A657-2B4C16073684}" srcId="{EFDE0B50-0E75-45EA-8048-CD0245379738}" destId="{0782F109-8A22-45A4-ACCE-E4A0B86E7D55}" srcOrd="2" destOrd="0" parTransId="{F86E7F2E-B59B-4A59-8C04-93473E5F3E30}" sibTransId="{0D5C4DC9-09E7-4FD2-94C9-209105480E7C}"/>
    <dgm:cxn modelId="{C5003260-5332-409D-9F19-7B7F0294D4A5}" type="presOf" srcId="{2EE146BB-9C34-46EE-B67A-D7750F8807C2}" destId="{7A3F7D76-3D64-4A6C-B258-9851EEBED99F}" srcOrd="0" destOrd="0" presId="urn:microsoft.com/office/officeart/2005/8/layout/list1"/>
    <dgm:cxn modelId="{2EB6D041-F048-44D4-9E1A-05AF6A343715}" srcId="{EFDE0B50-0E75-45EA-8048-CD0245379738}" destId="{94AEF49A-69B8-42FC-ADBF-B2C986F0A0CA}" srcOrd="0" destOrd="0" parTransId="{C79E9B95-562F-4C8F-9607-D8B1A64239A7}" sibTransId="{74E4F636-243C-4126-A49E-7A26EF0D35E8}"/>
    <dgm:cxn modelId="{568A2E44-C8EE-4C9E-958D-8B8757F24CC8}" type="presOf" srcId="{2EE146BB-9C34-46EE-B67A-D7750F8807C2}" destId="{50E0CD42-E392-401A-9F53-2C81385996BC}" srcOrd="1" destOrd="0" presId="urn:microsoft.com/office/officeart/2005/8/layout/list1"/>
    <dgm:cxn modelId="{004EB646-CF3C-488C-BA0E-D270C2926C93}" type="presOf" srcId="{63A4BF18-7F9A-4057-8F9C-528A39661128}" destId="{C21EC49C-93C5-43F5-8FB8-C5084F26200D}" srcOrd="0" destOrd="0" presId="urn:microsoft.com/office/officeart/2005/8/layout/list1"/>
    <dgm:cxn modelId="{4805FB55-0D08-41F1-876F-0DB116267112}" type="presOf" srcId="{D06A3309-9F81-447C-9600-7AF145888220}" destId="{B5E13345-F154-4097-80E1-3D34FF8AA68D}" srcOrd="0" destOrd="0" presId="urn:microsoft.com/office/officeart/2005/8/layout/list1"/>
    <dgm:cxn modelId="{51245F7E-16D9-473A-99BE-F94EBA15D51A}" type="presOf" srcId="{57707899-ABFF-476D-82F8-F9C367B339D7}" destId="{3DAFDA0C-A85E-45EB-AF57-CF061080D4FB}" srcOrd="0" destOrd="2" presId="urn:microsoft.com/office/officeart/2005/8/layout/list1"/>
    <dgm:cxn modelId="{124C9D8C-2221-40C8-822E-8EFE64803FE9}" type="presOf" srcId="{BFBE9538-8B82-4A91-B467-BBEE146B0E1C}" destId="{D0EE143E-8A93-45BB-BD3B-EE4A38480A12}" srcOrd="0" destOrd="2" presId="urn:microsoft.com/office/officeart/2005/8/layout/list1"/>
    <dgm:cxn modelId="{8F8DBE90-35C9-4D11-BAF6-1A840930F608}" type="presOf" srcId="{EFDE0B50-0E75-45EA-8048-CD0245379738}" destId="{D3D36649-9720-477A-9481-F1644430A275}" srcOrd="0" destOrd="0" presId="urn:microsoft.com/office/officeart/2005/8/layout/list1"/>
    <dgm:cxn modelId="{394D5191-ADEA-4EA6-A8EC-4C5C49ADD349}" srcId="{D06A3309-9F81-447C-9600-7AF145888220}" destId="{E8A6F0B1-2836-417D-9216-D5EC1B5FCC67}" srcOrd="1" destOrd="0" parTransId="{45C2E132-705E-4570-AEB0-972DA654FCC8}" sibTransId="{F5510723-09AB-41CC-ABCA-7B0945747CEB}"/>
    <dgm:cxn modelId="{5D13EAA1-30CC-4911-ABBD-17B31960F973}" srcId="{63A4BF18-7F9A-4057-8F9C-528A39661128}" destId="{2EE146BB-9C34-46EE-B67A-D7750F8807C2}" srcOrd="0" destOrd="0" parTransId="{0257FC0E-BB53-44D9-BA7D-9E43C9E2E03A}" sibTransId="{83F46BEC-1995-4D62-805D-5A0F749506CF}"/>
    <dgm:cxn modelId="{F3D335A7-B452-4902-A175-74604836E7B4}" srcId="{63A4BF18-7F9A-4057-8F9C-528A39661128}" destId="{EFDE0B50-0E75-45EA-8048-CD0245379738}" srcOrd="1" destOrd="0" parTransId="{0F9AC8DC-0310-4B9C-ADAB-EA2A7AEB480B}" sibTransId="{B6A37E16-778F-44C7-B89A-C6A28C1FC68E}"/>
    <dgm:cxn modelId="{F4D003AC-76EA-4A0D-803B-047B257D8E8F}" srcId="{D06A3309-9F81-447C-9600-7AF145888220}" destId="{8D36D022-AD90-45A3-B78C-161F4691E898}" srcOrd="0" destOrd="0" parTransId="{B8E79350-88DF-43FD-84B9-22C28B4FB122}" sibTransId="{CE2D24E7-B8D5-4B9D-A303-2561C8528346}"/>
    <dgm:cxn modelId="{3DAC9FAC-0AB9-44A8-BBA5-15DBC648F9AA}" type="presOf" srcId="{8D36D022-AD90-45A3-B78C-161F4691E898}" destId="{D0EE143E-8A93-45BB-BD3B-EE4A38480A12}" srcOrd="0" destOrd="0" presId="urn:microsoft.com/office/officeart/2005/8/layout/list1"/>
    <dgm:cxn modelId="{2F6D9FB3-2253-41AF-8885-2DE0E1324E77}" srcId="{2EE146BB-9C34-46EE-B67A-D7750F8807C2}" destId="{B0BA10F5-0063-48B7-8822-431FBC8AF6FD}" srcOrd="3" destOrd="0" parTransId="{3D1F7785-D6F5-45B7-AFBF-728DBF422B9E}" sibTransId="{08C897EF-C378-4739-AA55-A83F32713413}"/>
    <dgm:cxn modelId="{29B36EBA-4769-4308-9567-5574868C476D}" type="presOf" srcId="{75F8B171-BB80-4640-985F-3DD755E8FA81}" destId="{3DAFDA0C-A85E-45EB-AF57-CF061080D4FB}" srcOrd="0" destOrd="1" presId="urn:microsoft.com/office/officeart/2005/8/layout/list1"/>
    <dgm:cxn modelId="{B2862FC1-2220-4EA1-B5A3-082210C4F0F2}" type="presOf" srcId="{E8A6F0B1-2836-417D-9216-D5EC1B5FCC67}" destId="{D0EE143E-8A93-45BB-BD3B-EE4A38480A12}" srcOrd="0" destOrd="1" presId="urn:microsoft.com/office/officeart/2005/8/layout/list1"/>
    <dgm:cxn modelId="{4ECE3AC3-9EFB-490C-B3F9-F48C6B2C27EF}" type="presOf" srcId="{94AEF49A-69B8-42FC-ADBF-B2C986F0A0CA}" destId="{E75C49C2-71B1-4148-9B80-72C3C1A610F3}" srcOrd="0" destOrd="0" presId="urn:microsoft.com/office/officeart/2005/8/layout/list1"/>
    <dgm:cxn modelId="{F7DB14C4-C662-4A85-9A11-E9C6E9C42715}" srcId="{2EE146BB-9C34-46EE-B67A-D7750F8807C2}" destId="{75F8B171-BB80-4640-985F-3DD755E8FA81}" srcOrd="1" destOrd="0" parTransId="{D3F90241-16FE-405B-B73E-BD3FD9515DB9}" sibTransId="{BE1D463A-9583-40D8-9627-F5121E0912C6}"/>
    <dgm:cxn modelId="{5ABDC7C4-6568-487F-86FE-0B80A116EC3D}" srcId="{EFDE0B50-0E75-45EA-8048-CD0245379738}" destId="{1C7600CA-1C6E-409A-B5DF-CE25EB9438BB}" srcOrd="1" destOrd="0" parTransId="{4B71C254-8C5F-4313-BA7A-DBD320637332}" sibTransId="{F4206C77-44A2-4741-B4AA-AFC78472738C}"/>
    <dgm:cxn modelId="{999984C5-8A9D-4311-876C-A086C3FC9632}" type="presOf" srcId="{7309EDC2-EE2F-4D13-B2FD-C21D598CD274}" destId="{3DAFDA0C-A85E-45EB-AF57-CF061080D4FB}" srcOrd="0" destOrd="0" presId="urn:microsoft.com/office/officeart/2005/8/layout/list1"/>
    <dgm:cxn modelId="{A6739AD3-4CA6-4BD1-8DCA-011F108DCCA9}" type="presOf" srcId="{1C7600CA-1C6E-409A-B5DF-CE25EB9438BB}" destId="{E75C49C2-71B1-4148-9B80-72C3C1A610F3}" srcOrd="0" destOrd="1" presId="urn:microsoft.com/office/officeart/2005/8/layout/list1"/>
    <dgm:cxn modelId="{22F728D8-860B-4CCB-83D0-3A51AC7B446A}" type="presOf" srcId="{0782F109-8A22-45A4-ACCE-E4A0B86E7D55}" destId="{E75C49C2-71B1-4148-9B80-72C3C1A610F3}" srcOrd="0" destOrd="2" presId="urn:microsoft.com/office/officeart/2005/8/layout/list1"/>
    <dgm:cxn modelId="{77826CDF-B856-413C-8B78-A30466DE0293}" srcId="{63A4BF18-7F9A-4057-8F9C-528A39661128}" destId="{D06A3309-9F81-447C-9600-7AF145888220}" srcOrd="2" destOrd="0" parTransId="{EBA6D1B9-A46E-437D-9821-D1D6A3D653A2}" sibTransId="{32EF0504-B316-40B8-B336-C55B7D3B7229}"/>
    <dgm:cxn modelId="{64BB33E1-F890-4304-A356-B7790023B88D}" type="presOf" srcId="{EFDE0B50-0E75-45EA-8048-CD0245379738}" destId="{23AA9B83-D89E-47BB-AF21-E0995F79317D}" srcOrd="1" destOrd="0" presId="urn:microsoft.com/office/officeart/2005/8/layout/list1"/>
    <dgm:cxn modelId="{4D946AED-D031-44B4-AB52-8632358D9EB5}" type="presParOf" srcId="{C21EC49C-93C5-43F5-8FB8-C5084F26200D}" destId="{DF277D69-FCBB-4395-B6DD-EBAD6F48B231}" srcOrd="0" destOrd="0" presId="urn:microsoft.com/office/officeart/2005/8/layout/list1"/>
    <dgm:cxn modelId="{D19D4E36-3F21-4859-8017-4821DB10F92E}" type="presParOf" srcId="{DF277D69-FCBB-4395-B6DD-EBAD6F48B231}" destId="{7A3F7D76-3D64-4A6C-B258-9851EEBED99F}" srcOrd="0" destOrd="0" presId="urn:microsoft.com/office/officeart/2005/8/layout/list1"/>
    <dgm:cxn modelId="{132ABE68-0DBF-4570-8B84-62DBEE62EBDA}" type="presParOf" srcId="{DF277D69-FCBB-4395-B6DD-EBAD6F48B231}" destId="{50E0CD42-E392-401A-9F53-2C81385996BC}" srcOrd="1" destOrd="0" presId="urn:microsoft.com/office/officeart/2005/8/layout/list1"/>
    <dgm:cxn modelId="{475CA5B4-0AAD-48B7-A88F-941AA7F728F5}" type="presParOf" srcId="{C21EC49C-93C5-43F5-8FB8-C5084F26200D}" destId="{78A007DC-57AD-4A7B-AC33-1BEEEC042734}" srcOrd="1" destOrd="0" presId="urn:microsoft.com/office/officeart/2005/8/layout/list1"/>
    <dgm:cxn modelId="{27C94130-E491-4F0D-BAE5-BBBF8AA0ED5E}" type="presParOf" srcId="{C21EC49C-93C5-43F5-8FB8-C5084F26200D}" destId="{3DAFDA0C-A85E-45EB-AF57-CF061080D4FB}" srcOrd="2" destOrd="0" presId="urn:microsoft.com/office/officeart/2005/8/layout/list1"/>
    <dgm:cxn modelId="{4317226F-13F5-4E35-A7C4-ED2F96EBA800}" type="presParOf" srcId="{C21EC49C-93C5-43F5-8FB8-C5084F26200D}" destId="{418980CB-2955-4466-96BD-F65937FDAC12}" srcOrd="3" destOrd="0" presId="urn:microsoft.com/office/officeart/2005/8/layout/list1"/>
    <dgm:cxn modelId="{E6A3F3C3-EC0B-4C01-AD51-7C123764943A}" type="presParOf" srcId="{C21EC49C-93C5-43F5-8FB8-C5084F26200D}" destId="{C71C404C-E54C-4220-93A5-0DCFF16953EC}" srcOrd="4" destOrd="0" presId="urn:microsoft.com/office/officeart/2005/8/layout/list1"/>
    <dgm:cxn modelId="{A77428BB-0893-4F7D-B2BD-B24CCFEE2D89}" type="presParOf" srcId="{C71C404C-E54C-4220-93A5-0DCFF16953EC}" destId="{D3D36649-9720-477A-9481-F1644430A275}" srcOrd="0" destOrd="0" presId="urn:microsoft.com/office/officeart/2005/8/layout/list1"/>
    <dgm:cxn modelId="{58DB30CA-EA9C-46FA-8A14-C6ECE6D3C587}" type="presParOf" srcId="{C71C404C-E54C-4220-93A5-0DCFF16953EC}" destId="{23AA9B83-D89E-47BB-AF21-E0995F79317D}" srcOrd="1" destOrd="0" presId="urn:microsoft.com/office/officeart/2005/8/layout/list1"/>
    <dgm:cxn modelId="{55AC6061-43D0-4778-B264-D5D6A20428A0}" type="presParOf" srcId="{C21EC49C-93C5-43F5-8FB8-C5084F26200D}" destId="{0A76B49E-3248-4DFF-832C-94CFA8C8841A}" srcOrd="5" destOrd="0" presId="urn:microsoft.com/office/officeart/2005/8/layout/list1"/>
    <dgm:cxn modelId="{9EF6899C-9220-4B7F-AD20-4C086B84F3BD}" type="presParOf" srcId="{C21EC49C-93C5-43F5-8FB8-C5084F26200D}" destId="{E75C49C2-71B1-4148-9B80-72C3C1A610F3}" srcOrd="6" destOrd="0" presId="urn:microsoft.com/office/officeart/2005/8/layout/list1"/>
    <dgm:cxn modelId="{A1959E84-5AA2-4122-B6E7-B88AE48FF7D5}" type="presParOf" srcId="{C21EC49C-93C5-43F5-8FB8-C5084F26200D}" destId="{C906253E-E286-43E6-857D-418175692BF9}" srcOrd="7" destOrd="0" presId="urn:microsoft.com/office/officeart/2005/8/layout/list1"/>
    <dgm:cxn modelId="{1CFBEC76-4F89-4CA1-B0C3-42E8BD12E8A0}" type="presParOf" srcId="{C21EC49C-93C5-43F5-8FB8-C5084F26200D}" destId="{80C4F910-B705-4DA1-A91D-8C910E006B5D}" srcOrd="8" destOrd="0" presId="urn:microsoft.com/office/officeart/2005/8/layout/list1"/>
    <dgm:cxn modelId="{45463D82-1EE8-40E6-9E4D-3A3ACDE90E82}" type="presParOf" srcId="{80C4F910-B705-4DA1-A91D-8C910E006B5D}" destId="{B5E13345-F154-4097-80E1-3D34FF8AA68D}" srcOrd="0" destOrd="0" presId="urn:microsoft.com/office/officeart/2005/8/layout/list1"/>
    <dgm:cxn modelId="{6F0B8D1D-6516-424E-AD81-743D8748855A}" type="presParOf" srcId="{80C4F910-B705-4DA1-A91D-8C910E006B5D}" destId="{E8CF3353-DB5E-40CA-A60B-9D30F1AF97C7}" srcOrd="1" destOrd="0" presId="urn:microsoft.com/office/officeart/2005/8/layout/list1"/>
    <dgm:cxn modelId="{2F34F4C8-FF12-430E-97AA-BC6320749F44}" type="presParOf" srcId="{C21EC49C-93C5-43F5-8FB8-C5084F26200D}" destId="{9C76B143-62E4-4C01-84CC-AE5921323AA0}" srcOrd="9" destOrd="0" presId="urn:microsoft.com/office/officeart/2005/8/layout/list1"/>
    <dgm:cxn modelId="{213EE45A-E4D9-45F9-88EC-2513F4F45F9C}" type="presParOf" srcId="{C21EC49C-93C5-43F5-8FB8-C5084F26200D}" destId="{D0EE143E-8A93-45BB-BD3B-EE4A38480A12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AFDA0C-A85E-45EB-AF57-CF061080D4FB}">
      <dsp:nvSpPr>
        <dsp:cNvPr id="0" name=""/>
        <dsp:cNvSpPr/>
      </dsp:nvSpPr>
      <dsp:spPr>
        <a:xfrm>
          <a:off x="0" y="228072"/>
          <a:ext cx="8193737" cy="10851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925" tIns="270764" rIns="635925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latin typeface="Arial"/>
              <a:cs typeface="Arial"/>
            </a:rPr>
            <a:t>Source: ICD-10 from CMS.gov; ICD-10-CM from AHRQ</a:t>
          </a: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latin typeface="Arial"/>
              <a:cs typeface="Arial"/>
            </a:rPr>
            <a:t>Original number: </a:t>
          </a:r>
          <a:r>
            <a:rPr lang="en-US" sz="1200" b="1" kern="1200">
              <a:latin typeface="Arial"/>
              <a:cs typeface="Arial"/>
            </a:rPr>
            <a:t>72,836</a:t>
          </a:r>
          <a:r>
            <a:rPr lang="en-US" sz="1200" kern="1200">
              <a:latin typeface="Arial"/>
              <a:cs typeface="Arial"/>
            </a:rPr>
            <a:t> ICD-10 codes &amp; </a:t>
          </a:r>
          <a:r>
            <a:rPr lang="en-US" sz="1200" b="1" kern="1200">
              <a:latin typeface="Arial"/>
              <a:cs typeface="Arial"/>
            </a:rPr>
            <a:t>74,549</a:t>
          </a:r>
          <a:r>
            <a:rPr lang="en-US" sz="1200" kern="1200">
              <a:latin typeface="Arial"/>
              <a:cs typeface="Arial"/>
            </a:rPr>
            <a:t> ICD-10-CM codes 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>
              <a:latin typeface="Arial"/>
              <a:cs typeface="Arial"/>
            </a:rPr>
            <a:t>71,537 </a:t>
          </a:r>
          <a:r>
            <a:rPr lang="en-US" sz="1200" kern="1200">
              <a:latin typeface="Arial"/>
              <a:cs typeface="Arial"/>
            </a:rPr>
            <a:t>ICD-10 codes mapped to CUI </a:t>
          </a:r>
          <a:r>
            <a:rPr lang="en-US" sz="1100" kern="1200">
              <a:latin typeface="Arial"/>
              <a:cs typeface="Arial"/>
            </a:rPr>
            <a:t>(1299 unmapped; </a:t>
          </a:r>
          <a:r>
            <a:rPr lang="en-US" sz="1100" b="1" kern="1200">
              <a:latin typeface="Arial"/>
              <a:cs typeface="Arial"/>
            </a:rPr>
            <a:t>1.78%</a:t>
          </a:r>
          <a:r>
            <a:rPr lang="en-US" sz="1100" kern="1200">
              <a:latin typeface="Arial"/>
              <a:cs typeface="Arial"/>
            </a:rPr>
            <a:t> unmapped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>
              <a:latin typeface="Arial"/>
              <a:cs typeface="Arial"/>
            </a:rPr>
            <a:t>73,610</a:t>
          </a:r>
          <a:r>
            <a:rPr lang="en-US" sz="1200" kern="1200">
              <a:latin typeface="Arial"/>
              <a:cs typeface="Arial"/>
            </a:rPr>
            <a:t> ICD-10-CM codes mapped to CUI </a:t>
          </a:r>
          <a:r>
            <a:rPr lang="en-US" sz="1100" kern="1200">
              <a:latin typeface="Arial"/>
              <a:cs typeface="Arial"/>
            </a:rPr>
            <a:t>(939 unmapped </a:t>
          </a:r>
          <a:r>
            <a:rPr lang="en-US" sz="1100" b="1" kern="1200">
              <a:latin typeface="Arial"/>
              <a:cs typeface="Arial"/>
            </a:rPr>
            <a:t>1.26%</a:t>
          </a:r>
          <a:r>
            <a:rPr lang="en-US" sz="1100" kern="1200">
              <a:latin typeface="Arial"/>
              <a:cs typeface="Arial"/>
            </a:rPr>
            <a:t> unmapped)</a:t>
          </a:r>
        </a:p>
      </dsp:txBody>
      <dsp:txXfrm>
        <a:off x="0" y="228072"/>
        <a:ext cx="8193737" cy="1085175"/>
      </dsp:txXfrm>
    </dsp:sp>
    <dsp:sp modelId="{50E0CD42-E392-401A-9F53-2C81385996BC}">
      <dsp:nvSpPr>
        <dsp:cNvPr id="0" name=""/>
        <dsp:cNvSpPr/>
      </dsp:nvSpPr>
      <dsp:spPr>
        <a:xfrm>
          <a:off x="409686" y="36192"/>
          <a:ext cx="5735615" cy="38376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793" tIns="0" rIns="216793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latin typeface="Arial"/>
              <a:cs typeface="Arial"/>
            </a:rPr>
            <a:t>ICD-10 &amp; ICD-10-CM to CUI</a:t>
          </a:r>
        </a:p>
      </dsp:txBody>
      <dsp:txXfrm>
        <a:off x="428420" y="54926"/>
        <a:ext cx="5698147" cy="346292"/>
      </dsp:txXfrm>
    </dsp:sp>
    <dsp:sp modelId="{E75C49C2-71B1-4148-9B80-72C3C1A610F3}">
      <dsp:nvSpPr>
        <dsp:cNvPr id="0" name=""/>
        <dsp:cNvSpPr/>
      </dsp:nvSpPr>
      <dsp:spPr>
        <a:xfrm>
          <a:off x="0" y="1569332"/>
          <a:ext cx="8193737" cy="10851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925" tIns="270764" rIns="635925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latin typeface="Arial"/>
              <a:cs typeface="Arial"/>
            </a:rPr>
            <a:t>Source: ICD-9 &amp; ICD-9-CM from CMS.gov</a:t>
          </a: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latin typeface="Arial"/>
              <a:cs typeface="Arial"/>
            </a:rPr>
            <a:t>Original number: </a:t>
          </a:r>
          <a:r>
            <a:rPr lang="en-US" sz="1200" b="1" kern="1200">
              <a:latin typeface="Arial"/>
              <a:cs typeface="Arial"/>
            </a:rPr>
            <a:t>13,521</a:t>
          </a:r>
          <a:r>
            <a:rPr lang="en-US" sz="1200" kern="1200">
              <a:latin typeface="Arial"/>
              <a:cs typeface="Arial"/>
            </a:rPr>
            <a:t> ICD-9 codes &amp; </a:t>
          </a:r>
          <a:r>
            <a:rPr lang="en-US" sz="1200" b="1" kern="1200">
              <a:latin typeface="Arial"/>
              <a:cs typeface="Arial"/>
            </a:rPr>
            <a:t>14,567</a:t>
          </a:r>
          <a:r>
            <a:rPr lang="en-US" sz="1200" kern="1200">
              <a:latin typeface="Arial"/>
              <a:cs typeface="Arial"/>
            </a:rPr>
            <a:t> ICD-9-CM codes 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>
              <a:latin typeface="Arial"/>
              <a:cs typeface="Arial"/>
            </a:rPr>
            <a:t>11,046</a:t>
          </a:r>
          <a:r>
            <a:rPr lang="en-US" sz="1200" kern="1200">
              <a:latin typeface="Arial"/>
              <a:cs typeface="Arial"/>
            </a:rPr>
            <a:t> ICD-9 codes mapped to CUI </a:t>
          </a:r>
          <a:r>
            <a:rPr lang="en-US" sz="1100" kern="1200">
              <a:latin typeface="Arial"/>
              <a:cs typeface="Arial"/>
            </a:rPr>
            <a:t>(2475 unmapped; </a:t>
          </a:r>
          <a:r>
            <a:rPr lang="en-US" sz="1100" b="1" kern="1200">
              <a:latin typeface="Arial"/>
              <a:cs typeface="Arial"/>
            </a:rPr>
            <a:t>18.3%</a:t>
          </a:r>
          <a:r>
            <a:rPr lang="en-US" sz="1100" kern="1200">
              <a:latin typeface="Arial"/>
              <a:cs typeface="Arial"/>
            </a:rPr>
            <a:t> unmapped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>
              <a:latin typeface="Arial"/>
              <a:cs typeface="Arial"/>
            </a:rPr>
            <a:t>13,171</a:t>
          </a:r>
          <a:r>
            <a:rPr lang="en-US" sz="1200" kern="1200">
              <a:latin typeface="Arial"/>
              <a:cs typeface="Arial"/>
            </a:rPr>
            <a:t> ICD-9-CM codes mapped to CUI </a:t>
          </a:r>
          <a:r>
            <a:rPr lang="en-US" sz="1100" kern="1200">
              <a:latin typeface="Arial"/>
              <a:cs typeface="Arial"/>
            </a:rPr>
            <a:t>(1396 unmapped; </a:t>
          </a:r>
          <a:r>
            <a:rPr lang="en-US" sz="1100" b="1" kern="1200">
              <a:latin typeface="Arial"/>
              <a:cs typeface="Arial"/>
            </a:rPr>
            <a:t>9.58% </a:t>
          </a:r>
          <a:r>
            <a:rPr lang="en-US" sz="1100" kern="1200">
              <a:latin typeface="Arial"/>
              <a:cs typeface="Arial"/>
            </a:rPr>
            <a:t>unmapped)</a:t>
          </a:r>
        </a:p>
      </dsp:txBody>
      <dsp:txXfrm>
        <a:off x="0" y="1569332"/>
        <a:ext cx="8193737" cy="1085175"/>
      </dsp:txXfrm>
    </dsp:sp>
    <dsp:sp modelId="{23AA9B83-D89E-47BB-AF21-E0995F79317D}">
      <dsp:nvSpPr>
        <dsp:cNvPr id="0" name=""/>
        <dsp:cNvSpPr/>
      </dsp:nvSpPr>
      <dsp:spPr>
        <a:xfrm>
          <a:off x="409686" y="1383448"/>
          <a:ext cx="5735615" cy="38376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793" tIns="0" rIns="216793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latin typeface="Arial"/>
              <a:cs typeface="Arial"/>
            </a:rPr>
            <a:t>ICD-9 &amp; ICD-9-CM to CUI</a:t>
          </a:r>
        </a:p>
      </dsp:txBody>
      <dsp:txXfrm>
        <a:off x="428420" y="1402182"/>
        <a:ext cx="5698147" cy="346292"/>
      </dsp:txXfrm>
    </dsp:sp>
    <dsp:sp modelId="{D0EE143E-8A93-45BB-BD3B-EE4A38480A12}">
      <dsp:nvSpPr>
        <dsp:cNvPr id="0" name=""/>
        <dsp:cNvSpPr/>
      </dsp:nvSpPr>
      <dsp:spPr>
        <a:xfrm>
          <a:off x="0" y="2922583"/>
          <a:ext cx="8193737" cy="900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925" tIns="270764" rIns="635925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latin typeface="Arial"/>
              <a:cs typeface="Arial"/>
            </a:rPr>
            <a:t>Source: UML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latin typeface="Arial"/>
              <a:cs typeface="Arial"/>
            </a:rPr>
            <a:t>Original number: 508,540 SNOMED CT concept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>
              <a:latin typeface="Arial"/>
              <a:cs typeface="Arial"/>
            </a:rPr>
            <a:t>325,816</a:t>
          </a:r>
          <a:r>
            <a:rPr lang="en-US" sz="1200" kern="1200">
              <a:latin typeface="Arial"/>
              <a:cs typeface="Arial"/>
            </a:rPr>
            <a:t> SNOMED CT concepts mapped to CUI </a:t>
          </a:r>
          <a:r>
            <a:rPr lang="en-US" sz="1100" kern="1200">
              <a:latin typeface="Arial"/>
              <a:cs typeface="Arial"/>
            </a:rPr>
            <a:t>(182,724 unmapped; </a:t>
          </a:r>
          <a:r>
            <a:rPr lang="en-US" sz="1100" b="1" kern="1200">
              <a:latin typeface="Arial"/>
              <a:cs typeface="Arial"/>
            </a:rPr>
            <a:t>35.9%</a:t>
          </a:r>
          <a:r>
            <a:rPr lang="en-US" sz="1100" kern="1200">
              <a:latin typeface="Arial"/>
              <a:cs typeface="Arial"/>
            </a:rPr>
            <a:t> unmapped)</a:t>
          </a:r>
        </a:p>
      </dsp:txBody>
      <dsp:txXfrm>
        <a:off x="0" y="2922583"/>
        <a:ext cx="8193737" cy="900900"/>
      </dsp:txXfrm>
    </dsp:sp>
    <dsp:sp modelId="{E8CF3353-DB5E-40CA-A60B-9D30F1AF97C7}">
      <dsp:nvSpPr>
        <dsp:cNvPr id="0" name=""/>
        <dsp:cNvSpPr/>
      </dsp:nvSpPr>
      <dsp:spPr>
        <a:xfrm>
          <a:off x="409686" y="2730703"/>
          <a:ext cx="5735615" cy="38376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793" tIns="0" rIns="216793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latin typeface="Arial"/>
              <a:cs typeface="Arial"/>
            </a:rPr>
            <a:t>SNOMED CT</a:t>
          </a:r>
        </a:p>
      </dsp:txBody>
      <dsp:txXfrm>
        <a:off x="428420" y="2749437"/>
        <a:ext cx="5698147" cy="3462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87E4FF-12BC-4DC0-A0B6-A76A3887D3EA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ACB7ED-7394-4744-938D-640DDE6629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1899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62" algn="l" defTabSz="9143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24" algn="l" defTabSz="9143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86" algn="l" defTabSz="9143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48" algn="l" defTabSz="9143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10" algn="l" defTabSz="9143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72" algn="l" defTabSz="9143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33" algn="l" defTabSz="9143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96" algn="l" defTabSz="9143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E076D2-C4D6-4F47-BE0A-B8682F3AE1D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1328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0" name="Google Shape;1080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81" name="Google Shape;1081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5" name="Google Shape;795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96" name="Google Shape;79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" name="Google Shape;835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b="0"/>
          </a:p>
        </p:txBody>
      </p:sp>
      <p:sp>
        <p:nvSpPr>
          <p:cNvPr id="836" name="Google Shape;836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1" name="Google Shape;861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2" name="Google Shape;862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631790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984" name="Google Shape;984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226190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78413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55844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7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0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3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6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7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8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9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0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2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5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6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7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8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9.bin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0043" y="2140744"/>
            <a:ext cx="7499504" cy="104775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0044" y="3193256"/>
            <a:ext cx="7501144" cy="514350"/>
          </a:xfrm>
        </p:spPr>
        <p:txBody>
          <a:bodyPr lIns="0" tIns="34295" rIns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342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30044" y="5043487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reeform 6"/>
          <p:cNvSpPr>
            <a:spLocks noChangeAspect="1" noEditPoints="1"/>
          </p:cNvSpPr>
          <p:nvPr userDrawn="1"/>
        </p:nvSpPr>
        <p:spPr bwMode="auto">
          <a:xfrm>
            <a:off x="406109" y="402431"/>
            <a:ext cx="628773" cy="6858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04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3"/>
            <a:ext cx="3581142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3" y="1488281"/>
            <a:ext cx="3581142" cy="2990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Content Placeholder 7"/>
          <p:cNvSpPr>
            <a:spLocks noGrp="1"/>
          </p:cNvSpPr>
          <p:nvPr>
            <p:ph sz="quarter" idx="12"/>
          </p:nvPr>
        </p:nvSpPr>
        <p:spPr>
          <a:xfrm>
            <a:off x="4579146" y="0"/>
            <a:ext cx="4564854" cy="51435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08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number_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44300" y="0"/>
            <a:ext cx="53997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5" y="3698081"/>
            <a:ext cx="2742723" cy="1047750"/>
          </a:xfrm>
        </p:spPr>
        <p:txBody>
          <a:bodyPr anchor="t" anchorCtr="0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730044" y="402432"/>
            <a:ext cx="1184018" cy="2077492"/>
          </a:xfrm>
        </p:spPr>
        <p:txBody>
          <a:bodyPr bIns="0">
            <a:spAutoFit/>
          </a:bodyPr>
          <a:lstStyle>
            <a:lvl1pPr marL="0" indent="0">
              <a:buNone/>
              <a:defRPr sz="150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1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67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ntent low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1"/>
            <a:ext cx="3581142" cy="10858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9150" y="402432"/>
            <a:ext cx="4173037" cy="1085850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1714500"/>
            <a:ext cx="9144000" cy="3429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17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ntent lower image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714500"/>
            <a:ext cx="9144000" cy="34290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9144000" cy="1714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6"/>
            <a:ext cx="3581142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9150" y="402432"/>
            <a:ext cx="4173037" cy="1085850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730045" y="2128837"/>
            <a:ext cx="8022139" cy="26241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117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icon layout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30044" y="1488286"/>
            <a:ext cx="7501700" cy="592931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0047" y="3517478"/>
            <a:ext cx="1714947" cy="108356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730047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2660951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591854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6522756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660951" y="3517478"/>
            <a:ext cx="1714947" cy="108356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591854" y="3517478"/>
            <a:ext cx="1714947" cy="108356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6522756" y="3517478"/>
            <a:ext cx="1714947" cy="108356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494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gray border-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4575478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4568522" y="0"/>
            <a:ext cx="457547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00397" y="402434"/>
            <a:ext cx="8346073" cy="4350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5" y="808440"/>
            <a:ext cx="7507655" cy="389333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3" y="1602582"/>
            <a:ext cx="3496586" cy="2757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D2D2D2"/>
                </a:solidFill>
              </a:rPr>
              <a:pPr/>
              <a:t>10/17/2023</a:t>
            </a:fld>
            <a:endParaRPr lang="en-US">
              <a:solidFill>
                <a:srgbClr val="D2D2D2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94853" y="1810125"/>
            <a:ext cx="2435224" cy="56160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5794853" y="1599010"/>
            <a:ext cx="2433494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5794853" y="2797152"/>
            <a:ext cx="2435224" cy="56160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5794853" y="2589014"/>
            <a:ext cx="2435224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5794853" y="3788943"/>
            <a:ext cx="2435224" cy="56160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5794853" y="3579019"/>
            <a:ext cx="2435224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010400" y="4993465"/>
            <a:ext cx="2133600" cy="1500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86"/>
            <a:r>
              <a:rPr lang="en-US" sz="700">
                <a:solidFill>
                  <a:srgbClr val="D2D2D2"/>
                </a:solidFill>
              </a:rPr>
              <a:t>©2020 MFMER  |  slide-</a:t>
            </a:r>
            <a:fld id="{D445C29B-035B-48ED-941F-A66A11A8A322}" type="slidenum">
              <a:rPr lang="en-US" sz="700" smtClean="0">
                <a:solidFill>
                  <a:srgbClr val="D2D2D2"/>
                </a:solidFill>
              </a:rPr>
              <a:pPr defTabSz="1218886"/>
              <a:t>‹#›</a:t>
            </a:fld>
            <a:endParaRPr lang="en-US" sz="700">
              <a:solidFill>
                <a:srgbClr val="D2D2D2"/>
              </a:solidFill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6401" y="4601766"/>
            <a:ext cx="6553200" cy="274320"/>
          </a:xfrm>
          <a:prstGeom prst="rect">
            <a:avLst/>
          </a:prstGeom>
        </p:spPr>
        <p:txBody>
          <a:bodyPr vert="horz" lIns="0" tIns="45720" rIns="0" bIns="0" rtlCol="0" anchor="t" anchorCtr="0"/>
          <a:lstStyle>
            <a:lvl1pPr algn="r">
              <a:lnSpc>
                <a:spcPct val="9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32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with individual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0044" y="2215753"/>
            <a:ext cx="3402454" cy="47148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idx="12"/>
          </p:nvPr>
        </p:nvSpPr>
        <p:spPr>
          <a:xfrm>
            <a:off x="730044" y="1982395"/>
            <a:ext cx="3402454" cy="221456"/>
          </a:xfr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730044" y="1197771"/>
            <a:ext cx="7496936" cy="366712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sz="half" idx="18"/>
          </p:nvPr>
        </p:nvSpPr>
        <p:spPr>
          <a:xfrm>
            <a:off x="4831625" y="2215753"/>
            <a:ext cx="3402454" cy="47148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19"/>
          </p:nvPr>
        </p:nvSpPr>
        <p:spPr>
          <a:xfrm>
            <a:off x="4831625" y="1982395"/>
            <a:ext cx="3402454" cy="221456"/>
          </a:xfr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half" idx="20"/>
          </p:nvPr>
        </p:nvSpPr>
        <p:spPr>
          <a:xfrm>
            <a:off x="4831625" y="3173017"/>
            <a:ext cx="3402454" cy="47148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21"/>
          </p:nvPr>
        </p:nvSpPr>
        <p:spPr>
          <a:xfrm>
            <a:off x="4831625" y="2939656"/>
            <a:ext cx="3402454" cy="221456"/>
          </a:xfr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half" idx="22"/>
          </p:nvPr>
        </p:nvSpPr>
        <p:spPr>
          <a:xfrm>
            <a:off x="4831625" y="4130278"/>
            <a:ext cx="3402454" cy="47148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23"/>
          </p:nvPr>
        </p:nvSpPr>
        <p:spPr>
          <a:xfrm>
            <a:off x="4831625" y="3896919"/>
            <a:ext cx="3402454" cy="221456"/>
          </a:xfr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sz="half" idx="24"/>
          </p:nvPr>
        </p:nvSpPr>
        <p:spPr>
          <a:xfrm>
            <a:off x="730044" y="3173017"/>
            <a:ext cx="3402454" cy="47148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5"/>
          </p:nvPr>
        </p:nvSpPr>
        <p:spPr>
          <a:xfrm>
            <a:off x="730044" y="2939656"/>
            <a:ext cx="3402454" cy="221456"/>
          </a:xfr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26"/>
          </p:nvPr>
        </p:nvSpPr>
        <p:spPr>
          <a:xfrm>
            <a:off x="730044" y="4130278"/>
            <a:ext cx="3402454" cy="47148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27"/>
          </p:nvPr>
        </p:nvSpPr>
        <p:spPr>
          <a:xfrm>
            <a:off x="730044" y="3896919"/>
            <a:ext cx="3402454" cy="221456"/>
          </a:xfr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045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6740" y="1488283"/>
            <a:ext cx="3580809" cy="221456"/>
          </a:xfrm>
        </p:spPr>
        <p:txBody>
          <a:bodyPr anchor="t" anchorCtr="0"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6740" y="1707356"/>
            <a:ext cx="3580809" cy="2778919"/>
          </a:xfrm>
        </p:spPr>
        <p:txBody>
          <a:bodyPr tIns="91432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31628" y="1488283"/>
            <a:ext cx="3580809" cy="221456"/>
          </a:xfrm>
        </p:spPr>
        <p:txBody>
          <a:bodyPr anchor="t" anchorCtr="0"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31628" y="1707356"/>
            <a:ext cx="3580809" cy="2778919"/>
          </a:xfrm>
        </p:spPr>
        <p:txBody>
          <a:bodyPr tIns="91432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923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0/60 Title and Two Content Comparison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313183" y="0"/>
            <a:ext cx="5830818" cy="51435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8" y="1774629"/>
            <a:ext cx="2306841" cy="1594247"/>
          </a:xfrm>
        </p:spPr>
        <p:txBody>
          <a:bodyPr tIns="0" bIns="0" anchor="ctr" anchorCtr="0"/>
          <a:lstStyle>
            <a:lvl1pPr>
              <a:defRPr sz="3200"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16200000">
            <a:off x="-1218710" y="2521735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3744301" y="407195"/>
            <a:ext cx="2359242" cy="578644"/>
          </a:xfrm>
        </p:spPr>
        <p:txBody>
          <a:bodyPr bIns="0" anchor="b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3744301" y="1197769"/>
            <a:ext cx="2359242" cy="2990088"/>
          </a:xfrm>
        </p:spPr>
        <p:txBody>
          <a:bodyPr tIns="91432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buClrTx/>
              <a:defRPr sz="1800">
                <a:solidFill>
                  <a:schemeClr val="tx1"/>
                </a:solidFill>
              </a:defRPr>
            </a:lvl2pPr>
            <a:lvl3pPr>
              <a:buClrTx/>
              <a:defRPr sz="1800">
                <a:solidFill>
                  <a:schemeClr val="tx1"/>
                </a:solidFill>
              </a:defRPr>
            </a:lvl3pPr>
            <a:lvl4pPr>
              <a:buClrTx/>
              <a:defRPr sz="1800">
                <a:solidFill>
                  <a:schemeClr val="tx1"/>
                </a:solidFill>
              </a:defRPr>
            </a:lvl4pPr>
            <a:lvl5pPr>
              <a:buClrTx/>
              <a:defRPr sz="18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2"/>
          </p:nvPr>
        </p:nvSpPr>
        <p:spPr>
          <a:xfrm>
            <a:off x="6395324" y="407195"/>
            <a:ext cx="2359242" cy="578644"/>
          </a:xfrm>
        </p:spPr>
        <p:txBody>
          <a:bodyPr bIns="0" anchor="b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3"/>
          </p:nvPr>
        </p:nvSpPr>
        <p:spPr>
          <a:xfrm>
            <a:off x="6395324" y="1197769"/>
            <a:ext cx="2359242" cy="2990088"/>
          </a:xfrm>
        </p:spPr>
        <p:txBody>
          <a:bodyPr vert="horz" lIns="0" tIns="91432" rIns="0" bIns="4572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reeform 15"/>
          <p:cNvSpPr/>
          <p:nvPr userDrawn="1"/>
        </p:nvSpPr>
        <p:spPr>
          <a:xfrm>
            <a:off x="3737154" y="1091803"/>
            <a:ext cx="5001928" cy="0"/>
          </a:xfrm>
          <a:custGeom>
            <a:avLst/>
            <a:gdLst>
              <a:gd name="connsiteX0" fmla="*/ 0 w 6667500"/>
              <a:gd name="connsiteY0" fmla="*/ 0 h 0"/>
              <a:gd name="connsiteX1" fmla="*/ 6667500 w 6667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67500">
                <a:moveTo>
                  <a:pt x="0" y="0"/>
                </a:moveTo>
                <a:lnTo>
                  <a:pt x="6667500" y="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010400" y="4993465"/>
            <a:ext cx="2133600" cy="1500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86"/>
            <a:r>
              <a:rPr lang="en-US" sz="7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7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218886"/>
              <a:t>‹#›</a:t>
            </a:fld>
            <a:endParaRPr lang="en-US" sz="7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70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FDC1B7-C810-4FE5-A340-063DCFB03A71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DD6EE">
              <a:alpha val="1529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16" tIns="34009" rIns="68016" bIns="34009" rtlCol="0" anchor="ctr"/>
          <a:lstStyle/>
          <a:p>
            <a:pPr algn="ctr"/>
            <a:endParaRPr lang="en-US" sz="2300">
              <a:solidFill>
                <a:srgbClr val="000000"/>
              </a:solidFill>
            </a:endParaRPr>
          </a:p>
        </p:txBody>
      </p:sp>
      <p:pic>
        <p:nvPicPr>
          <p:cNvPr id="7" name="Picture Placeholder 17">
            <a:extLst>
              <a:ext uri="{FF2B5EF4-FFF2-40B4-BE49-F238E27FC236}">
                <a16:creationId xmlns:a16="http://schemas.microsoft.com/office/drawing/2014/main" id="{740793FC-67F1-46E2-8127-FF01633E8D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" b="86"/>
          <a:stretch>
            <a:fillRect/>
          </a:stretch>
        </p:blipFill>
        <p:spPr>
          <a:xfrm>
            <a:off x="4572000" y="495303"/>
            <a:ext cx="4160120" cy="4152899"/>
          </a:xfrm>
          <a:prstGeom prst="rect">
            <a:avLst/>
          </a:prstGeom>
        </p:spPr>
      </p:pic>
      <p:sp>
        <p:nvSpPr>
          <p:cNvPr id="8" name="Title 17">
            <a:extLst>
              <a:ext uri="{FF2B5EF4-FFF2-40B4-BE49-F238E27FC236}">
                <a16:creationId xmlns:a16="http://schemas.microsoft.com/office/drawing/2014/main" id="{BFB4C3AF-2F6A-4FF2-88CE-BFBDFEB51E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41" y="1659640"/>
            <a:ext cx="4114927" cy="2036465"/>
          </a:xfrm>
        </p:spPr>
        <p:txBody>
          <a:bodyPr anchor="ctr"/>
          <a:lstStyle/>
          <a:p>
            <a:endParaRPr lang="en-US">
              <a:solidFill>
                <a:srgbClr val="025487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C5366A-F564-48E4-98F0-6F8145F9A873}"/>
              </a:ext>
            </a:extLst>
          </p:cNvPr>
          <p:cNvCxnSpPr>
            <a:cxnSpLocks/>
          </p:cNvCxnSpPr>
          <p:nvPr userDrawn="1"/>
        </p:nvCxnSpPr>
        <p:spPr>
          <a:xfrm>
            <a:off x="510668" y="2133337"/>
            <a:ext cx="526735" cy="0"/>
          </a:xfrm>
          <a:prstGeom prst="line">
            <a:avLst/>
          </a:prstGeom>
          <a:ln w="57150">
            <a:solidFill>
              <a:srgbClr val="0254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2653732-A931-46C4-A2CD-1809E13FC9DD}"/>
              </a:ext>
            </a:extLst>
          </p:cNvPr>
          <p:cNvSpPr txBox="1"/>
          <p:nvPr userDrawn="1"/>
        </p:nvSpPr>
        <p:spPr>
          <a:xfrm>
            <a:off x="472487" y="1812297"/>
            <a:ext cx="3347259" cy="207186"/>
          </a:xfrm>
          <a:prstGeom prst="rect">
            <a:avLst/>
          </a:prstGeom>
          <a:noFill/>
        </p:spPr>
        <p:txBody>
          <a:bodyPr wrap="square" lIns="68016" tIns="34009" rIns="68016" bIns="34009" rtlCol="0">
            <a:spAutoFit/>
          </a:bodyPr>
          <a:lstStyle/>
          <a:p>
            <a:r>
              <a:rPr lang="en-US" sz="900" spc="285">
                <a:solidFill>
                  <a:srgbClr val="025487"/>
                </a:solidFill>
                <a:cs typeface="Arial" panose="020B0604020202020204" pitchFamily="34" charset="0"/>
              </a:rPr>
              <a:t>MAYO CLINIC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6720D4-4C15-4A88-B39F-94C0F92209E8}"/>
              </a:ext>
            </a:extLst>
          </p:cNvPr>
          <p:cNvSpPr/>
          <p:nvPr userDrawn="1"/>
        </p:nvSpPr>
        <p:spPr>
          <a:xfrm>
            <a:off x="313267" y="4781382"/>
            <a:ext cx="2997200" cy="259726"/>
          </a:xfrm>
          <a:prstGeom prst="rect">
            <a:avLst/>
          </a:prstGeom>
          <a:solidFill>
            <a:srgbClr val="EEFA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16" tIns="34009" rIns="68016" bIns="34009" rtlCol="0" anchor="ctr"/>
          <a:lstStyle/>
          <a:p>
            <a:pPr algn="ctr"/>
            <a:endParaRPr lang="en-US" sz="2300">
              <a:solidFill>
                <a:srgbClr val="0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38F2A-E134-4488-A9CE-F1F2AA57FA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81" b="31056"/>
          <a:stretch/>
        </p:blipFill>
        <p:spPr>
          <a:xfrm>
            <a:off x="510667" y="4545989"/>
            <a:ext cx="1053469" cy="432585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E1066FB-E56A-4A49-972F-10C1E851DD3B}"/>
              </a:ext>
            </a:extLst>
          </p:cNvPr>
          <p:cNvCxnSpPr/>
          <p:nvPr userDrawn="1"/>
        </p:nvCxnSpPr>
        <p:spPr>
          <a:xfrm>
            <a:off x="1634755" y="4545989"/>
            <a:ext cx="0" cy="33492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AEEC102-4601-458A-83F1-06F76BA96AA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762126" y="4648204"/>
            <a:ext cx="720090" cy="133919"/>
          </a:xfrm>
          <a:prstGeom prst="rect">
            <a:avLst/>
          </a:prstGeom>
        </p:spPr>
      </p:pic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8DEB4B50-5CE7-45BA-BBF5-4705E3836A4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10669" y="3415810"/>
            <a:ext cx="3347259" cy="295470"/>
          </a:xfrm>
          <a:noFill/>
        </p:spPr>
        <p:txBody>
          <a:bodyPr wrap="square" rtlCol="0">
            <a:spAutoFit/>
          </a:bodyPr>
          <a:lstStyle>
            <a:lvl1pPr>
              <a:defRPr lang="en-US" b="1" dirty="0" smtClean="0">
                <a:solidFill>
                  <a:srgbClr val="025487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87905826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38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211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A7448C-0FA3-4D47-B393-A8EEECE31EA1}"/>
              </a:ext>
            </a:extLst>
          </p:cNvPr>
          <p:cNvSpPr/>
          <p:nvPr userDrawn="1"/>
        </p:nvSpPr>
        <p:spPr>
          <a:xfrm>
            <a:off x="0" y="4774555"/>
            <a:ext cx="9144000" cy="3708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16" tIns="34009" rIns="68016" bIns="34009" rtlCol="0" anchor="ctr"/>
          <a:lstStyle/>
          <a:p>
            <a:pPr algn="ctr"/>
            <a:endParaRPr lang="en-US" sz="2300">
              <a:solidFill>
                <a:srgbClr val="000000"/>
              </a:solidFill>
            </a:endParaRPr>
          </a:p>
        </p:txBody>
      </p:sp>
      <p:pic>
        <p:nvPicPr>
          <p:cNvPr id="8" name="Picture 7" descr="Image result for mayo clinic logo white">
            <a:extLst>
              <a:ext uri="{FF2B5EF4-FFF2-40B4-BE49-F238E27FC236}">
                <a16:creationId xmlns:a16="http://schemas.microsoft.com/office/drawing/2014/main" id="{48FBFBC1-E387-47C1-B31D-41119B6F478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17" y="4842366"/>
            <a:ext cx="366810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1FDC076-B8DB-4FE2-B58D-B5F4F8E40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b="54747"/>
          <a:stretch/>
        </p:blipFill>
        <p:spPr>
          <a:xfrm>
            <a:off x="439953" y="4842366"/>
            <a:ext cx="495398" cy="24427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6B4E4E5-28DD-4D3E-8E32-4184058834C7}"/>
              </a:ext>
            </a:extLst>
          </p:cNvPr>
          <p:cNvCxnSpPr/>
          <p:nvPr userDrawn="1"/>
        </p:nvCxnSpPr>
        <p:spPr>
          <a:xfrm>
            <a:off x="1022600" y="4842366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5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7F802033-D9A4-4A74-B493-83349CD30F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9851" y="4808115"/>
            <a:ext cx="7145790" cy="303775"/>
          </a:xfrm>
        </p:spPr>
        <p:txBody>
          <a:bodyPr>
            <a:normAutofit/>
          </a:bodyPr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9311231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31624" y="402433"/>
            <a:ext cx="3920558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31624" y="1488281"/>
            <a:ext cx="3920558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83162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0" y="0"/>
            <a:ext cx="4579146" cy="51435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2709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932666-F142-614B-BF5C-5AEF59CFA8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38" y="1659637"/>
            <a:ext cx="8346186" cy="1864376"/>
          </a:xfrm>
        </p:spPr>
        <p:txBody>
          <a:bodyPr anchor="ctr">
            <a:normAutofit/>
          </a:bodyPr>
          <a:lstStyle>
            <a:lvl1pPr algn="l">
              <a:defRPr lang="en-US" sz="3000" b="1" i="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93500F8-B093-47F1-B1A1-7448B35B2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38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211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15C093-9ACC-47C3-B8B1-4DDAFE05781C}"/>
              </a:ext>
            </a:extLst>
          </p:cNvPr>
          <p:cNvSpPr/>
          <p:nvPr userDrawn="1"/>
        </p:nvSpPr>
        <p:spPr>
          <a:xfrm>
            <a:off x="0" y="4774555"/>
            <a:ext cx="9144000" cy="3708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16" tIns="34009" rIns="68016" bIns="34009" rtlCol="0" anchor="ctr"/>
          <a:lstStyle/>
          <a:p>
            <a:pPr algn="ctr"/>
            <a:endParaRPr lang="en-US" sz="2300">
              <a:solidFill>
                <a:srgbClr val="000000"/>
              </a:solidFill>
            </a:endParaRPr>
          </a:p>
        </p:txBody>
      </p:sp>
      <p:pic>
        <p:nvPicPr>
          <p:cNvPr id="7" name="Picture 6" descr="Image result for mayo clinic logo white">
            <a:extLst>
              <a:ext uri="{FF2B5EF4-FFF2-40B4-BE49-F238E27FC236}">
                <a16:creationId xmlns:a16="http://schemas.microsoft.com/office/drawing/2014/main" id="{92AF4C93-44A5-4B2A-81C5-EA900067D0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17" y="4842366"/>
            <a:ext cx="366810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21BD9C-8EFC-4F55-A5A0-487DB528DE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b="54747"/>
          <a:stretch/>
        </p:blipFill>
        <p:spPr>
          <a:xfrm>
            <a:off x="439953" y="4842366"/>
            <a:ext cx="495398" cy="24427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6B63FC-B3C9-4305-9F23-D9236CCD28B2}"/>
              </a:ext>
            </a:extLst>
          </p:cNvPr>
          <p:cNvCxnSpPr/>
          <p:nvPr userDrawn="1"/>
        </p:nvCxnSpPr>
        <p:spPr>
          <a:xfrm>
            <a:off x="1022600" y="4842366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74CB338-BF26-45E4-B828-EA4479E26FD1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5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5DF25856-9982-4FD8-9269-5D381E66AA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9851" y="4808115"/>
            <a:ext cx="7145790" cy="303775"/>
          </a:xfrm>
        </p:spPr>
        <p:txBody>
          <a:bodyPr>
            <a:normAutofit/>
          </a:bodyPr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2939439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2533915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5843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19067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623739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009783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881709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105765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16376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129741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07012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7783423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951247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865958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973355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500195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2628043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41117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/6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744300" y="0"/>
            <a:ext cx="53997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730043" y="1488282"/>
            <a:ext cx="2749870" cy="293484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1"/>
            <a:ext cx="2749870" cy="795338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820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4308740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932666-F142-614B-BF5C-5AEF59CFA8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38" y="1659643"/>
            <a:ext cx="8346186" cy="1864376"/>
          </a:xfrm>
        </p:spPr>
        <p:txBody>
          <a:bodyPr anchor="ctr">
            <a:normAutofit/>
          </a:bodyPr>
          <a:lstStyle>
            <a:lvl1pPr algn="l">
              <a:defRPr lang="en-US" sz="3000" b="1" i="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93500F8-B093-47F1-B1A1-7448B35B2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15C093-9ACC-47C3-B8B1-4DDAFE05781C}"/>
              </a:ext>
            </a:extLst>
          </p:cNvPr>
          <p:cNvSpPr/>
          <p:nvPr userDrawn="1"/>
        </p:nvSpPr>
        <p:spPr>
          <a:xfrm>
            <a:off x="0" y="4774555"/>
            <a:ext cx="9144000" cy="3708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16" tIns="34009" rIns="68016" bIns="34009" rtlCol="0" anchor="ctr"/>
          <a:lstStyle/>
          <a:p>
            <a:pPr algn="ctr"/>
            <a:endParaRPr lang="en-US" sz="2300">
              <a:solidFill>
                <a:srgbClr val="000000"/>
              </a:solidFill>
            </a:endParaRPr>
          </a:p>
        </p:txBody>
      </p:sp>
      <p:pic>
        <p:nvPicPr>
          <p:cNvPr id="7" name="Picture 6" descr="Image result for mayo clinic logo white">
            <a:extLst>
              <a:ext uri="{FF2B5EF4-FFF2-40B4-BE49-F238E27FC236}">
                <a16:creationId xmlns:a16="http://schemas.microsoft.com/office/drawing/2014/main" id="{92AF4C93-44A5-4B2A-81C5-EA900067D0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21" y="4842372"/>
            <a:ext cx="366809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21BD9C-8EFC-4F55-A5A0-487DB528DE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b="54747"/>
          <a:stretch/>
        </p:blipFill>
        <p:spPr>
          <a:xfrm>
            <a:off x="439958" y="4842372"/>
            <a:ext cx="495397" cy="24427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6B63FC-B3C9-4305-9F23-D9236CCD28B2}"/>
              </a:ext>
            </a:extLst>
          </p:cNvPr>
          <p:cNvCxnSpPr/>
          <p:nvPr userDrawn="1"/>
        </p:nvCxnSpPr>
        <p:spPr>
          <a:xfrm>
            <a:off x="1022599" y="4842372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74CB338-BF26-45E4-B828-EA4479E26FD1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5DF25856-9982-4FD8-9269-5D381E66AA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9852" y="4808117"/>
            <a:ext cx="7145790" cy="303775"/>
          </a:xfrm>
        </p:spPr>
        <p:txBody>
          <a:bodyPr>
            <a:normAutofit/>
          </a:bodyPr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04041946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9139222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34006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8816387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88258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3513415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98928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1287672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337835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Phot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CEA37A1-694F-2B43-9878-2E88661D56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" y="0"/>
            <a:ext cx="9144000" cy="51435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50CAC-1C8C-DD4D-A22D-5B0B73F4B222}" type="datetimeFigureOut">
              <a:rPr lang="en-US" smtClean="0">
                <a:solidFill>
                  <a:srgbClr val="E7E6E6">
                    <a:lumMod val="75000"/>
                  </a:srgbClr>
                </a:solidFill>
              </a:rPr>
              <a:pPr/>
              <a:t>10/17/2023</a:t>
            </a:fld>
            <a:endParaRPr lang="en-US">
              <a:solidFill>
                <a:srgbClr val="E7E6E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879" y="348271"/>
            <a:ext cx="8281434" cy="927636"/>
          </a:xfrm>
        </p:spPr>
        <p:txBody>
          <a:bodyPr anchor="t">
            <a:noAutofit/>
          </a:bodyPr>
          <a:lstStyle>
            <a:lvl1pPr>
              <a:defRPr sz="23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506" y="1486178"/>
            <a:ext cx="7886700" cy="3263504"/>
          </a:xfrm>
        </p:spPr>
        <p:txBody>
          <a:bodyPr>
            <a:noAutofit/>
          </a:bodyPr>
          <a:lstStyle>
            <a:lvl1pPr marL="182543" indent="-182543">
              <a:defRPr b="1">
                <a:solidFill>
                  <a:schemeClr val="bg1"/>
                </a:solidFill>
              </a:defRPr>
            </a:lvl1pPr>
            <a:lvl2pPr marL="365087" indent="-182543">
              <a:tabLst/>
              <a:defRPr sz="1424">
                <a:solidFill>
                  <a:schemeClr val="bg1"/>
                </a:solidFill>
              </a:defRPr>
            </a:lvl2pPr>
            <a:lvl3pPr marL="547618" indent="-182543">
              <a:defRPr sz="1424">
                <a:solidFill>
                  <a:schemeClr val="bg1"/>
                </a:solidFill>
              </a:defRPr>
            </a:lvl3pPr>
            <a:lvl4pPr marL="730172" indent="-182543">
              <a:defRPr sz="1424">
                <a:solidFill>
                  <a:schemeClr val="bg1"/>
                </a:solidFill>
              </a:defRPr>
            </a:lvl4pPr>
            <a:lvl5pPr marL="912705" indent="-182543">
              <a:defRPr sz="142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363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hoto Bor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4"/>
            <a:ext cx="9153144" cy="5150311"/>
          </a:xfrm>
          <a:prstGeom prst="rect">
            <a:avLst/>
          </a:prstGeom>
        </p:spPr>
      </p:pic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894A6432-152D-4449-B102-F860ED823A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2"/>
            <a:ext cx="8887968" cy="4882896"/>
          </a:xfrm>
        </p:spPr>
        <p:txBody>
          <a:bodyPr/>
          <a:lstStyle>
            <a:lvl1pPr marL="0" indent="0">
              <a:buNone/>
              <a:defRPr sz="1425"/>
            </a:lvl1pPr>
          </a:lstStyle>
          <a:p>
            <a:r>
              <a:rPr lang="en-US"/>
              <a:t>Insert pictur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614" y="6"/>
            <a:ext cx="8281434" cy="859390"/>
          </a:xfrm>
        </p:spPr>
        <p:txBody>
          <a:bodyPr anchor="b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50CAC-1C8C-DD4D-A22D-5B0B73F4B222}" type="datetimeFigureOut">
              <a:rPr lang="en-US" smtClean="0">
                <a:solidFill>
                  <a:srgbClr val="E6E6E6">
                    <a:lumMod val="90000"/>
                  </a:srgbClr>
                </a:solidFill>
              </a:rPr>
              <a:pPr/>
              <a:t>10/17/2023</a:t>
            </a:fld>
            <a:endParaRPr lang="en-US">
              <a:solidFill>
                <a:srgbClr val="E6E6E6">
                  <a:lumMod val="9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E6E6E6">
                  <a:lumMod val="9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12150" y="4480564"/>
            <a:ext cx="529878" cy="391262"/>
          </a:xfrm>
          <a:prstGeom prst="rect">
            <a:avLst/>
          </a:prstGeom>
        </p:spPr>
        <p:txBody>
          <a:bodyPr lIns="91340" tIns="45671" rIns="91340" bIns="45671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71821A3-96FC-1243-9172-4303A46FC06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29613" y="866208"/>
            <a:ext cx="8281624" cy="351664"/>
          </a:xfrm>
        </p:spPr>
        <p:txBody>
          <a:bodyPr/>
          <a:lstStyle>
            <a:lvl1pPr marL="0" indent="0">
              <a:buNone/>
              <a:defRPr sz="1425">
                <a:solidFill>
                  <a:schemeClr val="bg1"/>
                </a:solidFill>
              </a:defRPr>
            </a:lvl1pPr>
            <a:lvl2pPr marL="342451" indent="0">
              <a:buNone/>
              <a:defRPr/>
            </a:lvl2pPr>
            <a:lvl3pPr marL="684938" indent="0">
              <a:buNone/>
              <a:defRPr/>
            </a:lvl3pPr>
            <a:lvl4pPr marL="1027406" indent="0">
              <a:buNone/>
              <a:defRPr/>
            </a:lvl4pPr>
            <a:lvl5pPr marL="136987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8179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Icon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30043" y="4601766"/>
            <a:ext cx="7688679" cy="274320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14064" y="1197769"/>
            <a:ext cx="4115872" cy="582930"/>
          </a:xfrm>
        </p:spPr>
        <p:txBody>
          <a:bodyPr lIns="0" tIns="45720" rIns="0" bIns="0" anchor="t" anchorCtr="0">
            <a:noAutofit/>
          </a:bodyPr>
          <a:lstStyle>
            <a:lvl1pPr algn="ctr">
              <a:lnSpc>
                <a:spcPct val="8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20089" y="688181"/>
            <a:ext cx="2503822" cy="240506"/>
          </a:xfrm>
        </p:spPr>
        <p:txBody>
          <a:bodyPr lIns="0" tIns="91440" rIns="0" bIns="0" anchor="b" anchorCtr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350" b="0">
                <a:solidFill>
                  <a:schemeClr val="accent3"/>
                </a:solidFill>
              </a:defRPr>
            </a:lvl1pPr>
            <a:lvl2pPr marL="3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59566F0-D484-5440-A4B9-3BF6E3D6D9CB}"/>
              </a:ext>
            </a:extLst>
          </p:cNvPr>
          <p:cNvCxnSpPr>
            <a:cxnSpLocks/>
          </p:cNvCxnSpPr>
          <p:nvPr userDrawn="1"/>
        </p:nvCxnSpPr>
        <p:spPr>
          <a:xfrm>
            <a:off x="3457284" y="1047750"/>
            <a:ext cx="222943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0"/>
          <p:cNvSpPr>
            <a:spLocks noGrp="1"/>
          </p:cNvSpPr>
          <p:nvPr>
            <p:ph type="body" sz="quarter" idx="35" hasCustomPrompt="1"/>
          </p:nvPr>
        </p:nvSpPr>
        <p:spPr>
          <a:xfrm>
            <a:off x="729925" y="3438525"/>
            <a:ext cx="1918597" cy="240030"/>
          </a:xfrm>
        </p:spPr>
        <p:txBody>
          <a:bodyPr lIns="0" tIns="0" bIns="0" anchor="b" anchorCtr="0"/>
          <a:lstStyle>
            <a:lvl1pPr marL="0" indent="0" algn="ctr">
              <a:buFont typeface="Arial" panose="020B0604020202020204" pitchFamily="34" charset="0"/>
              <a:buNone/>
              <a:defRPr sz="13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6" hasCustomPrompt="1"/>
          </p:nvPr>
        </p:nvSpPr>
        <p:spPr>
          <a:xfrm>
            <a:off x="728852" y="3684332"/>
            <a:ext cx="1920740" cy="891540"/>
          </a:xfrm>
        </p:spPr>
        <p:txBody>
          <a:bodyPr tIns="0"/>
          <a:lstStyle>
            <a:lvl1pPr marL="0" indent="0" algn="ctr">
              <a:lnSpc>
                <a:spcPct val="100000"/>
              </a:lnSpc>
              <a:spcBef>
                <a:spcPts val="45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level</a:t>
            </a:r>
          </a:p>
        </p:txBody>
      </p:sp>
      <p:sp>
        <p:nvSpPr>
          <p:cNvPr id="42" name="Text Placeholder 20"/>
          <p:cNvSpPr>
            <a:spLocks noGrp="1"/>
          </p:cNvSpPr>
          <p:nvPr>
            <p:ph type="body" sz="quarter" idx="39" hasCustomPrompt="1"/>
          </p:nvPr>
        </p:nvSpPr>
        <p:spPr>
          <a:xfrm>
            <a:off x="6499053" y="3438525"/>
            <a:ext cx="1918597" cy="240030"/>
          </a:xfrm>
        </p:spPr>
        <p:txBody>
          <a:bodyPr lIns="0" tIns="0" bIns="0" anchor="b" anchorCtr="0"/>
          <a:lstStyle>
            <a:lvl1pPr marL="0" indent="0" algn="ctr">
              <a:buFont typeface="Arial" panose="020B0604020202020204" pitchFamily="34" charset="0"/>
              <a:buNone/>
              <a:defRPr sz="13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3" name="Text Placeholder 11"/>
          <p:cNvSpPr>
            <a:spLocks noGrp="1"/>
          </p:cNvSpPr>
          <p:nvPr>
            <p:ph type="body" sz="quarter" idx="40" hasCustomPrompt="1"/>
          </p:nvPr>
        </p:nvSpPr>
        <p:spPr>
          <a:xfrm>
            <a:off x="6497981" y="3684332"/>
            <a:ext cx="1920740" cy="891540"/>
          </a:xfrm>
        </p:spPr>
        <p:txBody>
          <a:bodyPr tIns="0"/>
          <a:lstStyle>
            <a:lvl1pPr marL="0" indent="0" algn="ctr">
              <a:lnSpc>
                <a:spcPct val="100000"/>
              </a:lnSpc>
              <a:spcBef>
                <a:spcPts val="45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level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1828085" y="1935956"/>
            <a:ext cx="5487829" cy="754380"/>
          </a:xfrm>
        </p:spPr>
        <p:txBody>
          <a:bodyPr lIns="45720" tIns="0" rIns="45720"/>
          <a:lstStyle>
            <a:lvl1pPr marL="0" indent="0" algn="ctr">
              <a:lnSpc>
                <a:spcPct val="100000"/>
              </a:lnSpc>
              <a:spcBef>
                <a:spcPts val="1800"/>
              </a:spcBef>
              <a:buNone/>
              <a:defRPr/>
            </a:lvl1pPr>
            <a:lvl2pPr>
              <a:spcBef>
                <a:spcPts val="675"/>
              </a:spcBef>
              <a:defRPr/>
            </a:lvl2pPr>
            <a:lvl3pPr>
              <a:spcBef>
                <a:spcPts val="675"/>
              </a:spcBef>
              <a:defRPr/>
            </a:lvl3pPr>
            <a:lvl4pPr>
              <a:spcBef>
                <a:spcPts val="675"/>
              </a:spcBef>
              <a:defRPr/>
            </a:lvl4pPr>
            <a:lvl5pPr>
              <a:spcBef>
                <a:spcPts val="675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41" hasCustomPrompt="1"/>
          </p:nvPr>
        </p:nvSpPr>
        <p:spPr>
          <a:xfrm>
            <a:off x="3612702" y="3438525"/>
            <a:ext cx="1918597" cy="240030"/>
          </a:xfrm>
        </p:spPr>
        <p:txBody>
          <a:bodyPr lIns="0" tIns="0" bIns="0" anchor="b" anchorCtr="0"/>
          <a:lstStyle>
            <a:lvl1pPr marL="0" indent="0" algn="ctr">
              <a:buFont typeface="Arial" panose="020B0604020202020204" pitchFamily="34" charset="0"/>
              <a:buNone/>
              <a:defRPr sz="13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42" hasCustomPrompt="1"/>
          </p:nvPr>
        </p:nvSpPr>
        <p:spPr>
          <a:xfrm>
            <a:off x="3611630" y="3684332"/>
            <a:ext cx="1920740" cy="891540"/>
          </a:xfrm>
        </p:spPr>
        <p:txBody>
          <a:bodyPr tIns="0"/>
          <a:lstStyle>
            <a:lvl1pPr marL="0" indent="0" algn="ctr">
              <a:lnSpc>
                <a:spcPct val="100000"/>
              </a:lnSpc>
              <a:spcBef>
                <a:spcPts val="45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level</a:t>
            </a:r>
          </a:p>
        </p:txBody>
      </p:sp>
    </p:spTree>
    <p:extLst>
      <p:ext uri="{BB962C8B-B14F-4D97-AF65-F5344CB8AC3E}">
        <p14:creationId xmlns:p14="http://schemas.microsoft.com/office/powerpoint/2010/main" val="256868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4"/>
            <a:ext cx="9153144" cy="5150311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5895" y="3750626"/>
            <a:ext cx="3881851" cy="728871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34245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4938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3pPr>
            <a:lvl4pPr marL="10274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987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23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481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728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975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50CAC-1C8C-DD4D-A22D-5B0B73F4B222}" type="datetimeFigureOut">
              <a:rPr lang="en-US" smtClean="0">
                <a:solidFill>
                  <a:srgbClr val="E6E6E6">
                    <a:lumMod val="90000"/>
                  </a:srgbClr>
                </a:solidFill>
              </a:rPr>
              <a:pPr/>
              <a:t>10/17/2023</a:t>
            </a:fld>
            <a:endParaRPr lang="en-US">
              <a:solidFill>
                <a:srgbClr val="E6E6E6">
                  <a:lumMod val="9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E6E6E6">
                  <a:lumMod val="9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12150" y="4480564"/>
            <a:ext cx="529878" cy="391262"/>
          </a:xfrm>
          <a:prstGeom prst="rect">
            <a:avLst/>
          </a:prstGeom>
        </p:spPr>
        <p:txBody>
          <a:bodyPr lIns="91340" tIns="45671" rIns="91340" bIns="45671"/>
          <a:lstStyle/>
          <a:p>
            <a:fld id="{971821A3-96FC-1243-9172-4303A46FC06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9147D0-8A5C-A943-B608-E48949C658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341" y="-4572"/>
            <a:ext cx="1536700" cy="1550987"/>
          </a:xfrm>
        </p:spPr>
        <p:txBody>
          <a:bodyPr>
            <a:noAutofit/>
          </a:bodyPr>
          <a:lstStyle>
            <a:lvl1pPr marL="0" indent="0">
              <a:buNone/>
              <a:defRPr sz="1402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867" y="1948070"/>
            <a:ext cx="4969411" cy="1765335"/>
          </a:xfrm>
        </p:spPr>
        <p:txBody>
          <a:bodyPr anchor="b">
            <a:noAutofit/>
          </a:bodyPr>
          <a:lstStyle>
            <a:lvl1pPr>
              <a:defRPr sz="45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9041" y="365764"/>
            <a:ext cx="3186106" cy="383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94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4"/>
            <a:ext cx="9153144" cy="51503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803" y="29"/>
            <a:ext cx="8281434" cy="866203"/>
          </a:xfrm>
        </p:spPr>
        <p:txBody>
          <a:bodyPr anchor="b">
            <a:no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6590" y="1456830"/>
            <a:ext cx="3571875" cy="3023734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653" indent="0">
              <a:buNone/>
              <a:tabLst/>
              <a:defRPr sz="1425">
                <a:solidFill>
                  <a:schemeClr val="bg1"/>
                </a:solidFill>
              </a:defRPr>
            </a:lvl2pPr>
            <a:lvl3pPr marL="365306" indent="0">
              <a:buNone/>
              <a:defRPr sz="1425">
                <a:solidFill>
                  <a:schemeClr val="bg1"/>
                </a:solidFill>
              </a:defRPr>
            </a:lvl3pPr>
            <a:lvl4pPr marL="547946" indent="0">
              <a:buNone/>
              <a:defRPr sz="1425">
                <a:solidFill>
                  <a:schemeClr val="bg1"/>
                </a:solidFill>
              </a:defRPr>
            </a:lvl4pPr>
            <a:lvl5pPr marL="730610" indent="0">
              <a:buNone/>
              <a:defRPr sz="142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50CAC-1C8C-DD4D-A22D-5B0B73F4B222}" type="datetimeFigureOut">
              <a:rPr lang="en-US" smtClean="0">
                <a:solidFill>
                  <a:srgbClr val="E6E6E6">
                    <a:lumMod val="90000"/>
                  </a:srgbClr>
                </a:solidFill>
              </a:rPr>
              <a:pPr/>
              <a:t>10/17/2023</a:t>
            </a:fld>
            <a:endParaRPr lang="en-US">
              <a:solidFill>
                <a:srgbClr val="E6E6E6">
                  <a:lumMod val="9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E6E6E6">
                  <a:lumMod val="9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12150" y="4480564"/>
            <a:ext cx="529878" cy="391262"/>
          </a:xfrm>
          <a:prstGeom prst="rect">
            <a:avLst/>
          </a:prstGeom>
        </p:spPr>
        <p:txBody>
          <a:bodyPr lIns="91340" tIns="45671" rIns="91340" bIns="45671"/>
          <a:lstStyle/>
          <a:p>
            <a:fld id="{971821A3-96FC-1243-9172-4303A46FC06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DD5A87F-4016-6D40-AF51-993E09D0E8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45892" y="1479279"/>
            <a:ext cx="3525484" cy="2992331"/>
          </a:xfrm>
        </p:spPr>
        <p:txBody>
          <a:bodyPr>
            <a:noAutofit/>
          </a:bodyPr>
          <a:lstStyle>
            <a:lvl1pPr marL="0" indent="0">
              <a:buNone/>
              <a:defRPr sz="142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451" indent="0">
              <a:buNone/>
              <a:defRPr/>
            </a:lvl2pPr>
            <a:lvl3pPr marL="684938" indent="0">
              <a:buNone/>
              <a:defRPr/>
            </a:lvl3pPr>
            <a:lvl4pPr marL="1027406" indent="0">
              <a:buNone/>
              <a:defRPr/>
            </a:lvl4pPr>
            <a:lvl5pPr marL="136987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29613" y="866208"/>
            <a:ext cx="8281624" cy="351664"/>
          </a:xfrm>
        </p:spPr>
        <p:txBody>
          <a:bodyPr/>
          <a:lstStyle>
            <a:lvl1pPr marL="0" indent="0">
              <a:buNone/>
              <a:defRPr sz="1425"/>
            </a:lvl1pPr>
            <a:lvl2pPr marL="342451" indent="0">
              <a:buNone/>
              <a:defRPr/>
            </a:lvl2pPr>
            <a:lvl3pPr marL="684938" indent="0">
              <a:buNone/>
              <a:defRPr/>
            </a:lvl3pPr>
            <a:lvl4pPr marL="1027406" indent="0">
              <a:buNone/>
              <a:defRPr/>
            </a:lvl4pPr>
            <a:lvl5pPr marL="136987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9614" y="4568337"/>
            <a:ext cx="4010297" cy="268746"/>
          </a:xfrm>
          <a:prstGeom prst="rect">
            <a:avLst/>
          </a:prstGeom>
          <a:noFill/>
        </p:spPr>
        <p:txBody>
          <a:bodyPr wrap="square" lIns="91320" tIns="45660" rIns="91320" bIns="45660" rtlCol="0">
            <a:noAutofit/>
          </a:bodyPr>
          <a:lstStyle/>
          <a:p>
            <a:pPr defTabSz="684938"/>
            <a:r>
              <a:rPr lang="en-US" sz="975">
                <a:solidFill>
                  <a:srgbClr val="000000"/>
                </a:solidFill>
              </a:rPr>
              <a:t>Proprietary and confidential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122151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5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/6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08688" y="402433"/>
            <a:ext cx="4743494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8688" y="1488281"/>
            <a:ext cx="4743494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008688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7443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1652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90629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932666-F142-614B-BF5C-5AEF59CFA8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38" y="1659637"/>
            <a:ext cx="8346186" cy="1864376"/>
          </a:xfrm>
        </p:spPr>
        <p:txBody>
          <a:bodyPr anchor="ctr">
            <a:normAutofit/>
          </a:bodyPr>
          <a:lstStyle>
            <a:lvl1pPr algn="l">
              <a:defRPr lang="en-US" sz="2399" b="1" i="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93500F8-B093-47F1-B1A1-7448B35B2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38" y="275517"/>
            <a:ext cx="6025224" cy="211402"/>
          </a:xfrm>
        </p:spPr>
        <p:txBody>
          <a:bodyPr>
            <a:normAutofit/>
          </a:bodyPr>
          <a:lstStyle>
            <a:lvl1pPr>
              <a:defRPr lang="en-US" sz="750" b="0" i="0" kern="1200" spc="22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85595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pic>
        <p:nvPicPr>
          <p:cNvPr id="7" name="Picture 6" descr="Image result for mayo clinic logo white">
            <a:extLst>
              <a:ext uri="{FF2B5EF4-FFF2-40B4-BE49-F238E27FC236}">
                <a16:creationId xmlns:a16="http://schemas.microsoft.com/office/drawing/2014/main" id="{92AF4C93-44A5-4B2A-81C5-EA900067D0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16" y="4842365"/>
            <a:ext cx="366810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21BD9C-8EFC-4F55-A5A0-487DB528DE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b="54747"/>
          <a:stretch/>
        </p:blipFill>
        <p:spPr>
          <a:xfrm>
            <a:off x="439952" y="4842365"/>
            <a:ext cx="495398" cy="24427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6B63FC-B3C9-4305-9F23-D9236CCD28B2}"/>
              </a:ext>
            </a:extLst>
          </p:cNvPr>
          <p:cNvCxnSpPr/>
          <p:nvPr userDrawn="1"/>
        </p:nvCxnSpPr>
        <p:spPr>
          <a:xfrm>
            <a:off x="1022600" y="4842365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74CB338-BF26-45E4-B828-EA4479E26FD1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2"/>
            <a:ext cx="2057400" cy="273844"/>
          </a:xfrm>
          <a:prstGeom prst="rect">
            <a:avLst/>
          </a:prstGeom>
        </p:spPr>
        <p:txBody>
          <a:bodyPr vert="horz" wrap="none" lIns="68562" tIns="34281" rIns="68562" bIns="3428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290D8D-6BA0-418D-AFED-C65293F70DA0}" type="slidenum">
              <a:rPr lang="en-US" sz="600" b="1" i="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algn="r"/>
              <a:t>‹#›</a:t>
            </a:fld>
            <a:endParaRPr lang="en-US" sz="600" b="1" i="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10B4DD6-20C0-41DE-ACF9-A28C105D0F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81" b="31056"/>
          <a:stretch/>
        </p:blipFill>
        <p:spPr>
          <a:xfrm>
            <a:off x="7311516" y="4675530"/>
            <a:ext cx="1053469" cy="432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47335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userDrawn="1">
  <p:cSld name="1_Title Slide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5110" y="214955"/>
            <a:ext cx="7473791" cy="537933"/>
          </a:xfrm>
          <a:prstGeom prst="rect">
            <a:avLst/>
          </a:prstGeo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323349"/>
      </p:ext>
    </p:extLst>
  </p:cSld>
  <p:clrMapOvr>
    <a:masterClrMapping/>
  </p:clrMapOvr>
  <p:transition spd="med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60/40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0042" y="2140744"/>
            <a:ext cx="4410843" cy="104775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45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9946" y="3193256"/>
            <a:ext cx="4410843" cy="514350"/>
          </a:xfrm>
        </p:spPr>
        <p:txBody>
          <a:bodyPr lIns="0" tIns="45720" rIns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 b="0" cap="all" baseline="0">
                <a:solidFill>
                  <a:schemeClr val="accent1"/>
                </a:solidFill>
              </a:defRPr>
            </a:lvl1pPr>
            <a:lvl2pPr marL="3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8" name="Freeform 6"/>
          <p:cNvSpPr>
            <a:spLocks noChangeAspect="1" noEditPoints="1"/>
          </p:cNvSpPr>
          <p:nvPr userDrawn="1"/>
        </p:nvSpPr>
        <p:spPr bwMode="auto">
          <a:xfrm>
            <a:off x="406109" y="402431"/>
            <a:ext cx="628773" cy="6858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5419946" y="0"/>
            <a:ext cx="3724054" cy="5143500"/>
          </a:xfrm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730044" y="5043487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0403211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FDC1B7-C810-4FE5-A340-063DCFB03A71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DD6EE">
              <a:alpha val="1529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023" tIns="25512" rIns="51023" bIns="25512" rtlCol="0" anchor="ctr"/>
          <a:lstStyle/>
          <a:p>
            <a:pPr algn="ctr" defTabSz="685891"/>
            <a:endParaRPr lang="en-US" sz="1700">
              <a:solidFill>
                <a:srgbClr val="000000"/>
              </a:solidFill>
            </a:endParaRPr>
          </a:p>
        </p:txBody>
      </p:sp>
      <p:pic>
        <p:nvPicPr>
          <p:cNvPr id="7" name="Picture Placeholder 17">
            <a:extLst>
              <a:ext uri="{FF2B5EF4-FFF2-40B4-BE49-F238E27FC236}">
                <a16:creationId xmlns:a16="http://schemas.microsoft.com/office/drawing/2014/main" id="{740793FC-67F1-46E2-8127-FF01633E8D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" b="86"/>
          <a:stretch>
            <a:fillRect/>
          </a:stretch>
        </p:blipFill>
        <p:spPr>
          <a:xfrm>
            <a:off x="4572000" y="495301"/>
            <a:ext cx="4160120" cy="4152899"/>
          </a:xfrm>
          <a:prstGeom prst="rect">
            <a:avLst/>
          </a:prstGeom>
        </p:spPr>
      </p:pic>
      <p:sp>
        <p:nvSpPr>
          <p:cNvPr id="8" name="Title 17">
            <a:extLst>
              <a:ext uri="{FF2B5EF4-FFF2-40B4-BE49-F238E27FC236}">
                <a16:creationId xmlns:a16="http://schemas.microsoft.com/office/drawing/2014/main" id="{BFB4C3AF-2F6A-4FF2-88CE-BFBDFEB51E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38" y="1659637"/>
            <a:ext cx="4114927" cy="2036465"/>
          </a:xfrm>
        </p:spPr>
        <p:txBody>
          <a:bodyPr anchor="ctr"/>
          <a:lstStyle/>
          <a:p>
            <a:endParaRPr lang="en-US">
              <a:solidFill>
                <a:srgbClr val="025487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C5366A-F564-48E4-98F0-6F8145F9A873}"/>
              </a:ext>
            </a:extLst>
          </p:cNvPr>
          <p:cNvCxnSpPr>
            <a:cxnSpLocks/>
          </p:cNvCxnSpPr>
          <p:nvPr/>
        </p:nvCxnSpPr>
        <p:spPr>
          <a:xfrm>
            <a:off x="510667" y="2133337"/>
            <a:ext cx="526735" cy="0"/>
          </a:xfrm>
          <a:prstGeom prst="line">
            <a:avLst/>
          </a:prstGeom>
          <a:ln w="57150">
            <a:solidFill>
              <a:srgbClr val="0254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2653732-A931-46C4-A2CD-1809E13FC9DD}"/>
              </a:ext>
            </a:extLst>
          </p:cNvPr>
          <p:cNvSpPr txBox="1"/>
          <p:nvPr/>
        </p:nvSpPr>
        <p:spPr>
          <a:xfrm>
            <a:off x="472487" y="1812297"/>
            <a:ext cx="3347259" cy="159244"/>
          </a:xfrm>
          <a:prstGeom prst="rect">
            <a:avLst/>
          </a:prstGeom>
          <a:noFill/>
        </p:spPr>
        <p:txBody>
          <a:bodyPr wrap="square" lIns="51023" tIns="25512" rIns="51023" bIns="25512" rtlCol="0">
            <a:spAutoFit/>
          </a:bodyPr>
          <a:lstStyle/>
          <a:p>
            <a:pPr defTabSz="685891"/>
            <a:r>
              <a:rPr lang="en-US" sz="700" spc="214">
                <a:solidFill>
                  <a:srgbClr val="025487"/>
                </a:solidFill>
                <a:cs typeface="Arial" panose="020B0604020202020204" pitchFamily="34" charset="0"/>
              </a:rPr>
              <a:t>MAYO CLINIC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6720D4-4C15-4A88-B39F-94C0F92209E8}"/>
              </a:ext>
            </a:extLst>
          </p:cNvPr>
          <p:cNvSpPr/>
          <p:nvPr/>
        </p:nvSpPr>
        <p:spPr>
          <a:xfrm>
            <a:off x="313267" y="4781382"/>
            <a:ext cx="2997200" cy="259726"/>
          </a:xfrm>
          <a:prstGeom prst="rect">
            <a:avLst/>
          </a:prstGeom>
          <a:solidFill>
            <a:srgbClr val="EEFA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023" tIns="25512" rIns="51023" bIns="25512" rtlCol="0" anchor="ctr"/>
          <a:lstStyle/>
          <a:p>
            <a:pPr algn="ctr" defTabSz="685891"/>
            <a:endParaRPr lang="en-US" sz="1700">
              <a:solidFill>
                <a:srgbClr val="0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38F2A-E134-4488-A9CE-F1F2AA57FA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81" b="31056"/>
          <a:stretch/>
        </p:blipFill>
        <p:spPr>
          <a:xfrm>
            <a:off x="510666" y="4545989"/>
            <a:ext cx="1053469" cy="432585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E1066FB-E56A-4A49-972F-10C1E851DD3B}"/>
              </a:ext>
            </a:extLst>
          </p:cNvPr>
          <p:cNvCxnSpPr/>
          <p:nvPr/>
        </p:nvCxnSpPr>
        <p:spPr>
          <a:xfrm>
            <a:off x="1634755" y="4545989"/>
            <a:ext cx="0" cy="33492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AEEC102-4601-458A-83F1-06F76BA96A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62126" y="4648201"/>
            <a:ext cx="720090" cy="133919"/>
          </a:xfrm>
          <a:prstGeom prst="rect">
            <a:avLst/>
          </a:prstGeom>
        </p:spPr>
      </p:pic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8DEB4B50-5CE7-45BA-BBF5-4705E3836A4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10666" y="3415810"/>
            <a:ext cx="3347259" cy="228532"/>
          </a:xfrm>
          <a:noFill/>
        </p:spPr>
        <p:txBody>
          <a:bodyPr wrap="square" rtlCol="0">
            <a:spAutoFit/>
          </a:bodyPr>
          <a:lstStyle>
            <a:lvl1pPr>
              <a:defRPr lang="en-US" b="1" dirty="0" smtClean="0">
                <a:solidFill>
                  <a:srgbClr val="025487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43188705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38" y="275517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49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A7448C-0FA3-4D47-B393-A8EEECE31EA1}"/>
              </a:ext>
            </a:extLst>
          </p:cNvPr>
          <p:cNvSpPr/>
          <p:nvPr/>
        </p:nvSpPr>
        <p:spPr>
          <a:xfrm>
            <a:off x="0" y="4774553"/>
            <a:ext cx="9144000" cy="3708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023" tIns="25512" rIns="51023" bIns="25512" rtlCol="0" anchor="ctr"/>
          <a:lstStyle/>
          <a:p>
            <a:pPr algn="ctr" defTabSz="685891"/>
            <a:endParaRPr lang="en-US" sz="1700">
              <a:solidFill>
                <a:srgbClr val="000000"/>
              </a:solidFill>
            </a:endParaRPr>
          </a:p>
        </p:txBody>
      </p:sp>
      <p:pic>
        <p:nvPicPr>
          <p:cNvPr id="8" name="Picture 7" descr="Image result for mayo clinic logo white">
            <a:extLst>
              <a:ext uri="{FF2B5EF4-FFF2-40B4-BE49-F238E27FC236}">
                <a16:creationId xmlns:a16="http://schemas.microsoft.com/office/drawing/2014/main" id="{48FBFBC1-E387-47C1-B31D-41119B6F47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16" y="4842365"/>
            <a:ext cx="366810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1FDC076-B8DB-4FE2-B58D-B5F4F8E40D4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4747"/>
          <a:stretch/>
        </p:blipFill>
        <p:spPr>
          <a:xfrm>
            <a:off x="439952" y="4842365"/>
            <a:ext cx="495398" cy="24427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6B4E4E5-28DD-4D3E-8E32-4184058834C7}"/>
              </a:ext>
            </a:extLst>
          </p:cNvPr>
          <p:cNvCxnSpPr/>
          <p:nvPr/>
        </p:nvCxnSpPr>
        <p:spPr>
          <a:xfrm>
            <a:off x="1022600" y="4842365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2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7F802033-D9A4-4A74-B493-83349CD30F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9851" y="4808112"/>
            <a:ext cx="7145790" cy="303775"/>
          </a:xfrm>
        </p:spPr>
        <p:txBody>
          <a:bodyPr>
            <a:normAutofit/>
          </a:bodyPr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61385804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932666-F142-614B-BF5C-5AEF59CFA8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38" y="1659637"/>
            <a:ext cx="8346186" cy="1864376"/>
          </a:xfrm>
        </p:spPr>
        <p:txBody>
          <a:bodyPr anchor="ctr">
            <a:normAutofit/>
          </a:bodyPr>
          <a:lstStyle>
            <a:lvl1pPr algn="l">
              <a:defRPr lang="en-US" sz="2300" b="1" i="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93500F8-B093-47F1-B1A1-7448B35B2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38" y="275517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49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15C093-9ACC-47C3-B8B1-4DDAFE05781C}"/>
              </a:ext>
            </a:extLst>
          </p:cNvPr>
          <p:cNvSpPr/>
          <p:nvPr/>
        </p:nvSpPr>
        <p:spPr>
          <a:xfrm>
            <a:off x="0" y="4774553"/>
            <a:ext cx="9144000" cy="3708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023" tIns="25512" rIns="51023" bIns="25512" rtlCol="0" anchor="ctr"/>
          <a:lstStyle/>
          <a:p>
            <a:pPr algn="ctr" defTabSz="685891"/>
            <a:endParaRPr lang="en-US" sz="1700">
              <a:solidFill>
                <a:srgbClr val="000000"/>
              </a:solidFill>
            </a:endParaRPr>
          </a:p>
        </p:txBody>
      </p:sp>
      <p:pic>
        <p:nvPicPr>
          <p:cNvPr id="7" name="Picture 6" descr="Image result for mayo clinic logo white">
            <a:extLst>
              <a:ext uri="{FF2B5EF4-FFF2-40B4-BE49-F238E27FC236}">
                <a16:creationId xmlns:a16="http://schemas.microsoft.com/office/drawing/2014/main" id="{92AF4C93-44A5-4B2A-81C5-EA900067D0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16" y="4842365"/>
            <a:ext cx="366810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21BD9C-8EFC-4F55-A5A0-487DB528DE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4747"/>
          <a:stretch/>
        </p:blipFill>
        <p:spPr>
          <a:xfrm>
            <a:off x="439952" y="4842365"/>
            <a:ext cx="495398" cy="24427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6B63FC-B3C9-4305-9F23-D9236CCD28B2}"/>
              </a:ext>
            </a:extLst>
          </p:cNvPr>
          <p:cNvCxnSpPr/>
          <p:nvPr/>
        </p:nvCxnSpPr>
        <p:spPr>
          <a:xfrm>
            <a:off x="1022600" y="4842365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74CB338-BF26-45E4-B828-EA4479E26FD1}"/>
              </a:ext>
            </a:extLst>
          </p:cNvPr>
          <p:cNvSpPr txBox="1">
            <a:spLocks/>
          </p:cNvSpPr>
          <p:nvPr/>
        </p:nvSpPr>
        <p:spPr>
          <a:xfrm>
            <a:off x="6657975" y="4834272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5DF25856-9982-4FD8-9269-5D381E66AA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9851" y="4808112"/>
            <a:ext cx="7145790" cy="303775"/>
          </a:xfrm>
        </p:spPr>
        <p:txBody>
          <a:bodyPr>
            <a:normAutofit/>
          </a:bodyPr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68616091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581008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439819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4065244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415199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7752737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713103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6958977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6605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/4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419946" y="0"/>
            <a:ext cx="3724054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730044" y="1488282"/>
            <a:ext cx="4421943" cy="293484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402433"/>
            <a:ext cx="4421943" cy="440531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524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5667114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49792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239654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258409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482257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793107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722601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205243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8306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5035393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932666-F142-614B-BF5C-5AEF59CFA8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38" y="1659641"/>
            <a:ext cx="8346186" cy="1864376"/>
          </a:xfrm>
        </p:spPr>
        <p:txBody>
          <a:bodyPr anchor="ctr">
            <a:normAutofit/>
          </a:bodyPr>
          <a:lstStyle>
            <a:lvl1pPr algn="l">
              <a:defRPr lang="en-US" sz="2300" b="1" i="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93500F8-B093-47F1-B1A1-7448B35B2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15C093-9ACC-47C3-B8B1-4DDAFE05781C}"/>
              </a:ext>
            </a:extLst>
          </p:cNvPr>
          <p:cNvSpPr/>
          <p:nvPr/>
        </p:nvSpPr>
        <p:spPr>
          <a:xfrm>
            <a:off x="0" y="4774555"/>
            <a:ext cx="9144000" cy="3708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023" tIns="25512" rIns="51023" bIns="25512" rtlCol="0" anchor="ctr"/>
          <a:lstStyle/>
          <a:p>
            <a:pPr algn="ctr" defTabSz="685891"/>
            <a:endParaRPr lang="en-US" sz="1700">
              <a:solidFill>
                <a:srgbClr val="000000"/>
              </a:solidFill>
            </a:endParaRPr>
          </a:p>
        </p:txBody>
      </p:sp>
      <p:pic>
        <p:nvPicPr>
          <p:cNvPr id="7" name="Picture 6" descr="Image result for mayo clinic logo white">
            <a:extLst>
              <a:ext uri="{FF2B5EF4-FFF2-40B4-BE49-F238E27FC236}">
                <a16:creationId xmlns:a16="http://schemas.microsoft.com/office/drawing/2014/main" id="{92AF4C93-44A5-4B2A-81C5-EA900067D0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18" y="4842369"/>
            <a:ext cx="366809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21BD9C-8EFC-4F55-A5A0-487DB528DE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4747"/>
          <a:stretch/>
        </p:blipFill>
        <p:spPr>
          <a:xfrm>
            <a:off x="439955" y="4842369"/>
            <a:ext cx="495397" cy="24427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6B63FC-B3C9-4305-9F23-D9236CCD28B2}"/>
              </a:ext>
            </a:extLst>
          </p:cNvPr>
          <p:cNvCxnSpPr/>
          <p:nvPr/>
        </p:nvCxnSpPr>
        <p:spPr>
          <a:xfrm>
            <a:off x="1022599" y="4842369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74CB338-BF26-45E4-B828-EA4479E26FD1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5DF25856-9982-4FD8-9269-5D381E66AA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9852" y="4808115"/>
            <a:ext cx="7145790" cy="303775"/>
          </a:xfrm>
        </p:spPr>
        <p:txBody>
          <a:bodyPr>
            <a:normAutofit/>
          </a:bodyPr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8283241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137645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912227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90385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1307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908333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24339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1794804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807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/4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5159131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19946" y="402433"/>
            <a:ext cx="3332237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9946" y="1488281"/>
            <a:ext cx="3332237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419946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86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rategy and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0047" y="3669411"/>
            <a:ext cx="1714947" cy="1083564"/>
          </a:xfrm>
        </p:spPr>
        <p:txBody>
          <a:bodyPr tIns="91432" bIns="45716"/>
          <a:lstStyle>
            <a:lvl1pPr marL="171436" indent="-171436">
              <a:spcBef>
                <a:spcPts val="900"/>
              </a:spcBef>
              <a:buFont typeface="Arial" panose="020B0604020202020204" pitchFamily="34" charset="0"/>
              <a:buChar char="•"/>
              <a:defRPr sz="1600"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730047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2660951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591854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6522756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660951" y="3669411"/>
            <a:ext cx="1714947" cy="1083564"/>
          </a:xfrm>
        </p:spPr>
        <p:txBody>
          <a:bodyPr tIns="91432" bIns="45716"/>
          <a:lstStyle>
            <a:lvl1pPr marL="171436" indent="-171436">
              <a:spcBef>
                <a:spcPts val="900"/>
              </a:spcBef>
              <a:buFont typeface="Arial" panose="020B0604020202020204" pitchFamily="34" charset="0"/>
              <a:buChar char="•"/>
              <a:defRPr sz="1600"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591854" y="3669411"/>
            <a:ext cx="1714947" cy="1083564"/>
          </a:xfrm>
        </p:spPr>
        <p:txBody>
          <a:bodyPr tIns="91432" bIns="45716"/>
          <a:lstStyle>
            <a:lvl1pPr marL="171436" indent="-171436">
              <a:spcBef>
                <a:spcPts val="900"/>
              </a:spcBef>
              <a:buFont typeface="Arial" panose="020B0604020202020204" pitchFamily="34" charset="0"/>
              <a:buChar char="•"/>
              <a:defRPr sz="1600"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6522756" y="3669411"/>
            <a:ext cx="1714947" cy="1083564"/>
          </a:xfrm>
        </p:spPr>
        <p:txBody>
          <a:bodyPr tIns="91432" bIns="45716"/>
          <a:lstStyle>
            <a:lvl1pPr marL="171436" indent="-171436">
              <a:spcBef>
                <a:spcPts val="900"/>
              </a:spcBef>
              <a:buFont typeface="Arial" panose="020B0604020202020204" pitchFamily="34" charset="0"/>
              <a:buChar char="•"/>
              <a:defRPr sz="1600"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/>
          </p:nvPr>
        </p:nvSpPr>
        <p:spPr>
          <a:xfrm>
            <a:off x="730044" y="1400176"/>
            <a:ext cx="7501144" cy="41433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600"/>
            </a:lvl1pPr>
            <a:lvl4pPr marL="1371486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730123" y="1197769"/>
            <a:ext cx="7503002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6"/>
          </p:nvPr>
        </p:nvSpPr>
        <p:spPr>
          <a:xfrm>
            <a:off x="730044" y="2371728"/>
            <a:ext cx="7501144" cy="692944"/>
          </a:xfrm>
        </p:spPr>
        <p:txBody>
          <a:bodyPr tIns="91432"/>
          <a:lstStyle>
            <a:lvl1pPr marL="171436" indent="-171436">
              <a:spcBef>
                <a:spcPts val="900"/>
              </a:spcBef>
              <a:buFont typeface="Arial" panose="020B0604020202020204" pitchFamily="34" charset="0"/>
              <a:buChar char="•"/>
              <a:defRPr sz="1600"/>
            </a:lvl1pPr>
            <a:lvl4pPr marL="1371486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27"/>
          </p:nvPr>
        </p:nvSpPr>
        <p:spPr>
          <a:xfrm>
            <a:off x="730123" y="2167160"/>
            <a:ext cx="7503002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35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earning objective blac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313183" y="0"/>
            <a:ext cx="5830818" cy="51435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9" y="1774629"/>
            <a:ext cx="2299695" cy="1594247"/>
          </a:xfrm>
        </p:spPr>
        <p:txBody>
          <a:bodyPr tIns="0" bIns="0"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 rot="16200000">
            <a:off x="-1218710" y="2521735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Content Placeholder 3"/>
          <p:cNvSpPr>
            <a:spLocks noGrp="1"/>
          </p:cNvSpPr>
          <p:nvPr>
            <p:ph sz="half" idx="13"/>
          </p:nvPr>
        </p:nvSpPr>
        <p:spPr>
          <a:xfrm>
            <a:off x="3744302" y="1197771"/>
            <a:ext cx="5010265" cy="274796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lnSpc>
                <a:spcPct val="125000"/>
              </a:lnSpc>
              <a:buNone/>
              <a:defRPr lang="en-US" sz="2200" dirty="0" smtClean="0">
                <a:solidFill>
                  <a:schemeClr val="tx1"/>
                </a:solidFill>
              </a:defRPr>
            </a:lvl1pPr>
            <a:lvl2pPr marL="457162" indent="0">
              <a:buClr>
                <a:schemeClr val="tx1"/>
              </a:buClr>
              <a:buNone/>
              <a:defRPr lang="en-US" sz="2200" dirty="0" smtClean="0"/>
            </a:lvl2pPr>
            <a:lvl3pPr marL="914324" indent="0">
              <a:buClr>
                <a:schemeClr val="tx1"/>
              </a:buClr>
              <a:buNone/>
              <a:defRPr lang="en-US" sz="2200" dirty="0" smtClean="0"/>
            </a:lvl3pPr>
            <a:lvl4pPr marL="1371486" indent="0">
              <a:buClr>
                <a:schemeClr val="tx1"/>
              </a:buClr>
              <a:buNone/>
              <a:defRPr lang="en-US" sz="2200" dirty="0" smtClean="0"/>
            </a:lvl4pPr>
            <a:lvl5pPr marL="1828648" indent="0">
              <a:buClr>
                <a:schemeClr val="tx1"/>
              </a:buClr>
              <a:buNone/>
              <a:defRPr lang="en-US" sz="2200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010400" y="4993465"/>
            <a:ext cx="2133600" cy="1500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86"/>
            <a:r>
              <a:rPr lang="en-US" sz="7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7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218886"/>
              <a:t>‹#›</a:t>
            </a:fld>
            <a:endParaRPr lang="en-US" sz="7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14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_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3744300" y="0"/>
            <a:ext cx="53997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5" y="1774629"/>
            <a:ext cx="2742723" cy="1594247"/>
          </a:xfrm>
        </p:spPr>
        <p:txBody>
          <a:bodyPr tIns="0" bIns="0" anchor="ctr" anchorCtr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010400" y="4993465"/>
            <a:ext cx="2133600" cy="1500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86"/>
            <a:r>
              <a:rPr lang="en-US" sz="7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7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218886"/>
              <a:t>‹#›</a:t>
            </a:fld>
            <a:endParaRPr lang="en-US" sz="7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0048" y="3629027"/>
            <a:ext cx="2749869" cy="957263"/>
          </a:xfrm>
        </p:spPr>
        <p:txBody>
          <a:bodyPr/>
          <a:lstStyle>
            <a:lvl1pPr marL="0" indent="0"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591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ck_blu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0"/>
            <a:ext cx="4575478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68522" y="0"/>
            <a:ext cx="457547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6112" y="402434"/>
            <a:ext cx="8346073" cy="4350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5" y="808440"/>
            <a:ext cx="7507655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5" y="1599010"/>
            <a:ext cx="7507655" cy="2751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D2D2D2"/>
                </a:solidFill>
              </a:rPr>
              <a:pPr/>
              <a:t>10/17/2023</a:t>
            </a:fld>
            <a:endParaRPr lang="en-US">
              <a:solidFill>
                <a:srgbClr val="D2D2D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10400" y="4993465"/>
            <a:ext cx="2133600" cy="1500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86"/>
            <a:r>
              <a:rPr lang="en-US" sz="700">
                <a:solidFill>
                  <a:srgbClr val="D2D2D2"/>
                </a:solidFill>
              </a:rPr>
              <a:t>©2020 MFMER  |  slide-</a:t>
            </a:r>
            <a:fld id="{D445C29B-035B-48ED-941F-A66A11A8A322}" type="slidenum">
              <a:rPr lang="en-US" sz="700" smtClean="0">
                <a:solidFill>
                  <a:srgbClr val="D2D2D2"/>
                </a:solidFill>
              </a:rPr>
              <a:pPr defTabSz="1218886"/>
              <a:t>‹#›</a:t>
            </a:fld>
            <a:endParaRPr lang="en-US" sz="700">
              <a:solidFill>
                <a:srgbClr val="D2D2D2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6401" y="4601766"/>
            <a:ext cx="6553200" cy="274320"/>
          </a:xfrm>
          <a:prstGeom prst="rect">
            <a:avLst/>
          </a:prstGeom>
        </p:spPr>
        <p:txBody>
          <a:bodyPr vert="horz" lIns="0" tIns="45720" rIns="0" bIns="0" rtlCol="0" anchor="t" anchorCtr="0"/>
          <a:lstStyle>
            <a:lvl1pPr algn="r">
              <a:lnSpc>
                <a:spcPct val="9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052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50/5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6"/>
            <a:ext cx="3581142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3" y="1488281"/>
            <a:ext cx="3581142" cy="2990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Content Placeholder 7"/>
          <p:cNvSpPr>
            <a:spLocks noGrp="1"/>
          </p:cNvSpPr>
          <p:nvPr>
            <p:ph sz="quarter" idx="12"/>
          </p:nvPr>
        </p:nvSpPr>
        <p:spPr>
          <a:xfrm>
            <a:off x="4579146" y="0"/>
            <a:ext cx="4564854" cy="51435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44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50/5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31624" y="402436"/>
            <a:ext cx="3920558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31624" y="1488281"/>
            <a:ext cx="3920558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31626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0" y="0"/>
            <a:ext cx="4579146" cy="51435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1669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0/6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744300" y="0"/>
            <a:ext cx="53997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730043" y="1488282"/>
            <a:ext cx="2749870" cy="293484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3"/>
            <a:ext cx="2749870" cy="795338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95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0/6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08688" y="402436"/>
            <a:ext cx="4743494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8688" y="1488281"/>
            <a:ext cx="4743494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008688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7443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3397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60/4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419946" y="0"/>
            <a:ext cx="3724054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730047" y="1488282"/>
            <a:ext cx="4421943" cy="293484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30047" y="402436"/>
            <a:ext cx="4421943" cy="440531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820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60/4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5159131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19949" y="402436"/>
            <a:ext cx="3332237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9949" y="1488281"/>
            <a:ext cx="3332237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419948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60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2314575"/>
            <a:ext cx="7501144" cy="514350"/>
          </a:xfrm>
        </p:spPr>
        <p:txBody>
          <a:bodyPr anchor="t" anchorCtr="0"/>
          <a:lstStyle>
            <a:lvl1pPr algn="l">
              <a:defRPr sz="30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 rot="16200000">
            <a:off x="-1218710" y="2521732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667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2314575"/>
            <a:ext cx="7501144" cy="514350"/>
          </a:xfrm>
        </p:spPr>
        <p:txBody>
          <a:bodyPr anchor="t" anchorCtr="0"/>
          <a:lstStyle>
            <a:lvl1pPr algn="l">
              <a:defRPr sz="40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rot="16200000">
            <a:off x="-1218710" y="2521735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250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79374" y="2047875"/>
            <a:ext cx="6145225" cy="1047750"/>
          </a:xfrm>
        </p:spPr>
        <p:txBody>
          <a:bodyPr anchor="t" anchorCtr="0"/>
          <a:lstStyle>
            <a:lvl1pPr algn="l">
              <a:defRPr sz="40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730044" y="1879254"/>
            <a:ext cx="1184018" cy="2077492"/>
          </a:xfrm>
        </p:spPr>
        <p:txBody>
          <a:bodyPr bIns="0">
            <a:spAutoFit/>
          </a:bodyPr>
          <a:lstStyle>
            <a:lvl1pPr marL="0" indent="0">
              <a:buNone/>
              <a:defRPr sz="150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1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" name="Rectangle 5"/>
          <p:cNvSpPr/>
          <p:nvPr/>
        </p:nvSpPr>
        <p:spPr>
          <a:xfrm rot="16200000">
            <a:off x="-1218710" y="2521735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577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with number_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579146" y="0"/>
            <a:ext cx="4564854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3698081"/>
            <a:ext cx="3581142" cy="1047750"/>
          </a:xfrm>
        </p:spPr>
        <p:txBody>
          <a:bodyPr anchor="t" anchorCtr="0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730044" y="402432"/>
            <a:ext cx="1184018" cy="2077492"/>
          </a:xfrm>
        </p:spPr>
        <p:txBody>
          <a:bodyPr bIns="0">
            <a:spAutoFit/>
          </a:bodyPr>
          <a:lstStyle>
            <a:lvl1pPr marL="0" indent="0">
              <a:buNone/>
              <a:defRPr sz="150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1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9" name="Rectangle 8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882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with number_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44300" y="0"/>
            <a:ext cx="53997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5" y="3698081"/>
            <a:ext cx="2742723" cy="1047750"/>
          </a:xfrm>
        </p:spPr>
        <p:txBody>
          <a:bodyPr anchor="t" anchorCtr="0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730044" y="402432"/>
            <a:ext cx="1184018" cy="2077492"/>
          </a:xfrm>
        </p:spPr>
        <p:txBody>
          <a:bodyPr bIns="0">
            <a:spAutoFit/>
          </a:bodyPr>
          <a:lstStyle>
            <a:lvl1pPr marL="0" indent="0">
              <a:buNone/>
              <a:defRPr sz="150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1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9" name="Rectangle 8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content low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1"/>
            <a:ext cx="3581142" cy="10858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9150" y="402432"/>
            <a:ext cx="4173037" cy="1085850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1714500"/>
            <a:ext cx="9144000" cy="3429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7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932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content lower image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1714500"/>
            <a:ext cx="9144000" cy="34290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1714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6"/>
            <a:ext cx="3581142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9150" y="402432"/>
            <a:ext cx="4173037" cy="1085850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730045" y="2128837"/>
            <a:ext cx="8022139" cy="26241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398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Four icon layout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30044" y="1488286"/>
            <a:ext cx="7501700" cy="592931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0047" y="3517478"/>
            <a:ext cx="1714947" cy="108356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730047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2660951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591854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6522756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660951" y="3517478"/>
            <a:ext cx="1714947" cy="108356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591854" y="3517478"/>
            <a:ext cx="1714947" cy="108356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6522756" y="3517478"/>
            <a:ext cx="1714947" cy="108356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25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White_gray border-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0"/>
            <a:ext cx="4575478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68522" y="0"/>
            <a:ext cx="457547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0397" y="402434"/>
            <a:ext cx="8346073" cy="4350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5" y="808440"/>
            <a:ext cx="7507655" cy="389333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3" y="1602582"/>
            <a:ext cx="3496586" cy="2757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D2D2D2"/>
                </a:solidFill>
              </a:rPr>
              <a:pPr/>
              <a:t>10/17/2023</a:t>
            </a:fld>
            <a:endParaRPr lang="en-US">
              <a:solidFill>
                <a:srgbClr val="D2D2D2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94853" y="1810125"/>
            <a:ext cx="2435224" cy="56160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5794853" y="1599010"/>
            <a:ext cx="2433494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5794853" y="2797152"/>
            <a:ext cx="2435224" cy="56160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5794853" y="2589014"/>
            <a:ext cx="2435224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5794853" y="3788943"/>
            <a:ext cx="2435224" cy="561604"/>
          </a:xfrm>
        </p:spPr>
        <p:txBody>
          <a:bodyPr tIns="91432" bIns="45716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5794853" y="3579019"/>
            <a:ext cx="2435224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010400" y="4993465"/>
            <a:ext cx="2133600" cy="1500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86"/>
            <a:r>
              <a:rPr lang="en-US" sz="700">
                <a:solidFill>
                  <a:srgbClr val="D2D2D2"/>
                </a:solidFill>
              </a:rPr>
              <a:t>©2020 MFMER  |  slide-</a:t>
            </a:r>
            <a:fld id="{D445C29B-035B-48ED-941F-A66A11A8A322}" type="slidenum">
              <a:rPr lang="en-US" sz="700" smtClean="0">
                <a:solidFill>
                  <a:srgbClr val="D2D2D2"/>
                </a:solidFill>
              </a:rPr>
              <a:pPr defTabSz="1218886"/>
              <a:t>‹#›</a:t>
            </a:fld>
            <a:endParaRPr lang="en-US" sz="700">
              <a:solidFill>
                <a:srgbClr val="D2D2D2"/>
              </a:solidFill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6401" y="4601766"/>
            <a:ext cx="6553200" cy="274320"/>
          </a:xfrm>
          <a:prstGeom prst="rect">
            <a:avLst/>
          </a:prstGeom>
        </p:spPr>
        <p:txBody>
          <a:bodyPr vert="horz" lIns="0" tIns="45720" rIns="0" bIns="0" rtlCol="0" anchor="t" anchorCtr="0"/>
          <a:lstStyle>
            <a:lvl1pPr algn="r">
              <a:lnSpc>
                <a:spcPct val="9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26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with individual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0044" y="2215753"/>
            <a:ext cx="3402454" cy="47148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idx="12"/>
          </p:nvPr>
        </p:nvSpPr>
        <p:spPr>
          <a:xfrm>
            <a:off x="730044" y="1982395"/>
            <a:ext cx="3402454" cy="221456"/>
          </a:xfr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730044" y="1197771"/>
            <a:ext cx="7496936" cy="366712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sz="half" idx="18"/>
          </p:nvPr>
        </p:nvSpPr>
        <p:spPr>
          <a:xfrm>
            <a:off x="4831625" y="2215753"/>
            <a:ext cx="3402454" cy="47148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19"/>
          </p:nvPr>
        </p:nvSpPr>
        <p:spPr>
          <a:xfrm>
            <a:off x="4831625" y="1982395"/>
            <a:ext cx="3402454" cy="221456"/>
          </a:xfr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half" idx="20"/>
          </p:nvPr>
        </p:nvSpPr>
        <p:spPr>
          <a:xfrm>
            <a:off x="4831625" y="3173017"/>
            <a:ext cx="3402454" cy="47148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21"/>
          </p:nvPr>
        </p:nvSpPr>
        <p:spPr>
          <a:xfrm>
            <a:off x="4831625" y="2939656"/>
            <a:ext cx="3402454" cy="221456"/>
          </a:xfr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half" idx="22"/>
          </p:nvPr>
        </p:nvSpPr>
        <p:spPr>
          <a:xfrm>
            <a:off x="4831625" y="4130278"/>
            <a:ext cx="3402454" cy="47148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23"/>
          </p:nvPr>
        </p:nvSpPr>
        <p:spPr>
          <a:xfrm>
            <a:off x="4831625" y="3896919"/>
            <a:ext cx="3402454" cy="221456"/>
          </a:xfr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sz="half" idx="24"/>
          </p:nvPr>
        </p:nvSpPr>
        <p:spPr>
          <a:xfrm>
            <a:off x="730044" y="3173017"/>
            <a:ext cx="3402454" cy="47148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5"/>
          </p:nvPr>
        </p:nvSpPr>
        <p:spPr>
          <a:xfrm>
            <a:off x="730044" y="2939656"/>
            <a:ext cx="3402454" cy="221456"/>
          </a:xfr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26"/>
          </p:nvPr>
        </p:nvSpPr>
        <p:spPr>
          <a:xfrm>
            <a:off x="730044" y="4130278"/>
            <a:ext cx="3402454" cy="47148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800"/>
            </a:lvl1pPr>
            <a:lvl2pPr marL="457162" indent="0">
              <a:buNone/>
              <a:defRPr sz="1800"/>
            </a:lvl2pPr>
            <a:lvl3pPr marL="914324" indent="0">
              <a:buNone/>
              <a:defRPr sz="1800"/>
            </a:lvl3pPr>
            <a:lvl4pPr marL="1371486" indent="0">
              <a:buNone/>
              <a:defRPr sz="1800"/>
            </a:lvl4pPr>
            <a:lvl5pPr marL="1828648" indent="0">
              <a:buNone/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27"/>
          </p:nvPr>
        </p:nvSpPr>
        <p:spPr>
          <a:xfrm>
            <a:off x="730044" y="3896919"/>
            <a:ext cx="3402454" cy="221456"/>
          </a:xfrm>
        </p:spPr>
        <p:txBody>
          <a:bodyPr anchor="t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529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6740" y="1488283"/>
            <a:ext cx="3580809" cy="221456"/>
          </a:xfrm>
        </p:spPr>
        <p:txBody>
          <a:bodyPr anchor="t" anchorCtr="0"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6740" y="1707356"/>
            <a:ext cx="3580809" cy="2778919"/>
          </a:xfrm>
        </p:spPr>
        <p:txBody>
          <a:bodyPr tIns="91432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31628" y="1488283"/>
            <a:ext cx="3580809" cy="221456"/>
          </a:xfrm>
        </p:spPr>
        <p:txBody>
          <a:bodyPr anchor="t" anchorCtr="0"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31628" y="1707356"/>
            <a:ext cx="3580809" cy="2778919"/>
          </a:xfrm>
        </p:spPr>
        <p:txBody>
          <a:bodyPr tIns="91432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44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79374" y="2047875"/>
            <a:ext cx="6145225" cy="1047750"/>
          </a:xfrm>
        </p:spPr>
        <p:txBody>
          <a:bodyPr anchor="t" anchorCtr="0"/>
          <a:lstStyle>
            <a:lvl1pPr algn="l">
              <a:defRPr sz="30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730044" y="1879253"/>
            <a:ext cx="1184018" cy="1558119"/>
          </a:xfrm>
        </p:spPr>
        <p:txBody>
          <a:bodyPr bIns="0">
            <a:spAutoFit/>
          </a:bodyPr>
          <a:lstStyle>
            <a:lvl1pPr marL="0" indent="0">
              <a:buNone/>
              <a:defRPr sz="113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3429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" name="Rectangle 5"/>
          <p:cNvSpPr/>
          <p:nvPr userDrawn="1"/>
        </p:nvSpPr>
        <p:spPr>
          <a:xfrm rot="16200000">
            <a:off x="-1218710" y="2521732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60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0/60 Title and Two Content Comparison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313183" y="0"/>
            <a:ext cx="5830818" cy="51435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8" y="1774629"/>
            <a:ext cx="2306841" cy="1594247"/>
          </a:xfrm>
        </p:spPr>
        <p:txBody>
          <a:bodyPr tIns="0" bIns="0" anchor="ctr" anchorCtr="0"/>
          <a:lstStyle>
            <a:lvl1pPr>
              <a:defRPr sz="3200"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 rot="16200000">
            <a:off x="-1218710" y="2521735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3744301" y="407195"/>
            <a:ext cx="2359242" cy="578644"/>
          </a:xfrm>
        </p:spPr>
        <p:txBody>
          <a:bodyPr bIns="0" anchor="b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3744301" y="1197769"/>
            <a:ext cx="2359242" cy="2990088"/>
          </a:xfrm>
        </p:spPr>
        <p:txBody>
          <a:bodyPr tIns="91432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buClrTx/>
              <a:defRPr sz="1800">
                <a:solidFill>
                  <a:schemeClr val="tx1"/>
                </a:solidFill>
              </a:defRPr>
            </a:lvl2pPr>
            <a:lvl3pPr>
              <a:buClrTx/>
              <a:defRPr sz="1800">
                <a:solidFill>
                  <a:schemeClr val="tx1"/>
                </a:solidFill>
              </a:defRPr>
            </a:lvl3pPr>
            <a:lvl4pPr>
              <a:buClrTx/>
              <a:defRPr sz="1800">
                <a:solidFill>
                  <a:schemeClr val="tx1"/>
                </a:solidFill>
              </a:defRPr>
            </a:lvl4pPr>
            <a:lvl5pPr>
              <a:buClrTx/>
              <a:defRPr sz="18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2"/>
          </p:nvPr>
        </p:nvSpPr>
        <p:spPr>
          <a:xfrm>
            <a:off x="6395324" y="407195"/>
            <a:ext cx="2359242" cy="578644"/>
          </a:xfrm>
        </p:spPr>
        <p:txBody>
          <a:bodyPr bIns="0" anchor="b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3" indent="0">
              <a:buNone/>
              <a:defRPr sz="2000" b="1"/>
            </a:lvl2pPr>
            <a:lvl3pPr marL="914408" indent="0">
              <a:buNone/>
              <a:defRPr sz="1900" b="1"/>
            </a:lvl3pPr>
            <a:lvl4pPr marL="1371611" indent="0">
              <a:buNone/>
              <a:defRPr sz="1600" b="1"/>
            </a:lvl4pPr>
            <a:lvl5pPr marL="1828816" indent="0">
              <a:buNone/>
              <a:defRPr sz="1600" b="1"/>
            </a:lvl5pPr>
            <a:lvl6pPr marL="2286019" indent="0">
              <a:buNone/>
              <a:defRPr sz="1600" b="1"/>
            </a:lvl6pPr>
            <a:lvl7pPr marL="2743224" indent="0">
              <a:buNone/>
              <a:defRPr sz="1600" b="1"/>
            </a:lvl7pPr>
            <a:lvl8pPr marL="3200427" indent="0">
              <a:buNone/>
              <a:defRPr sz="1600" b="1"/>
            </a:lvl8pPr>
            <a:lvl9pPr marL="365763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3"/>
          </p:nvPr>
        </p:nvSpPr>
        <p:spPr>
          <a:xfrm>
            <a:off x="6395324" y="1197769"/>
            <a:ext cx="2359242" cy="2990088"/>
          </a:xfrm>
        </p:spPr>
        <p:txBody>
          <a:bodyPr vert="horz" lIns="0" tIns="91432" rIns="0" bIns="4572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reeform 15"/>
          <p:cNvSpPr/>
          <p:nvPr/>
        </p:nvSpPr>
        <p:spPr>
          <a:xfrm>
            <a:off x="3737154" y="1091803"/>
            <a:ext cx="5001928" cy="0"/>
          </a:xfrm>
          <a:custGeom>
            <a:avLst/>
            <a:gdLst>
              <a:gd name="connsiteX0" fmla="*/ 0 w 6667500"/>
              <a:gd name="connsiteY0" fmla="*/ 0 h 0"/>
              <a:gd name="connsiteX1" fmla="*/ 6667500 w 6667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67500">
                <a:moveTo>
                  <a:pt x="0" y="0"/>
                </a:moveTo>
                <a:lnTo>
                  <a:pt x="6667500" y="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010400" y="4993465"/>
            <a:ext cx="2133600" cy="1500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86"/>
            <a:r>
              <a:rPr lang="en-US" sz="7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7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218886"/>
              <a:t>‹#›</a:t>
            </a:fld>
            <a:endParaRPr lang="en-US" sz="7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08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FDC1B7-C810-4FE5-A340-063DCFB03A71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DD6EE">
              <a:alpha val="1529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16" tIns="34009" rIns="68016" bIns="34009" rtlCol="0" anchor="ctr"/>
          <a:lstStyle/>
          <a:p>
            <a:pPr algn="ctr"/>
            <a:endParaRPr lang="en-US" sz="2300">
              <a:solidFill>
                <a:srgbClr val="000000"/>
              </a:solidFill>
            </a:endParaRPr>
          </a:p>
        </p:txBody>
      </p:sp>
      <p:pic>
        <p:nvPicPr>
          <p:cNvPr id="7" name="Picture Placeholder 17">
            <a:extLst>
              <a:ext uri="{FF2B5EF4-FFF2-40B4-BE49-F238E27FC236}">
                <a16:creationId xmlns:a16="http://schemas.microsoft.com/office/drawing/2014/main" id="{740793FC-67F1-46E2-8127-FF01633E8D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" b="86"/>
          <a:stretch>
            <a:fillRect/>
          </a:stretch>
        </p:blipFill>
        <p:spPr>
          <a:xfrm>
            <a:off x="4572000" y="495303"/>
            <a:ext cx="4160120" cy="4152899"/>
          </a:xfrm>
          <a:prstGeom prst="rect">
            <a:avLst/>
          </a:prstGeom>
        </p:spPr>
      </p:pic>
      <p:sp>
        <p:nvSpPr>
          <p:cNvPr id="8" name="Title 17">
            <a:extLst>
              <a:ext uri="{FF2B5EF4-FFF2-40B4-BE49-F238E27FC236}">
                <a16:creationId xmlns:a16="http://schemas.microsoft.com/office/drawing/2014/main" id="{BFB4C3AF-2F6A-4FF2-88CE-BFBDFEB51E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41" y="1659640"/>
            <a:ext cx="4114927" cy="2036465"/>
          </a:xfrm>
        </p:spPr>
        <p:txBody>
          <a:bodyPr anchor="ctr"/>
          <a:lstStyle/>
          <a:p>
            <a:endParaRPr lang="en-US">
              <a:solidFill>
                <a:srgbClr val="025487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C5366A-F564-48E4-98F0-6F8145F9A873}"/>
              </a:ext>
            </a:extLst>
          </p:cNvPr>
          <p:cNvCxnSpPr>
            <a:cxnSpLocks/>
          </p:cNvCxnSpPr>
          <p:nvPr/>
        </p:nvCxnSpPr>
        <p:spPr>
          <a:xfrm>
            <a:off x="510668" y="2133337"/>
            <a:ext cx="526735" cy="0"/>
          </a:xfrm>
          <a:prstGeom prst="line">
            <a:avLst/>
          </a:prstGeom>
          <a:ln w="57150">
            <a:solidFill>
              <a:srgbClr val="0254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2653732-A931-46C4-A2CD-1809E13FC9DD}"/>
              </a:ext>
            </a:extLst>
          </p:cNvPr>
          <p:cNvSpPr txBox="1"/>
          <p:nvPr/>
        </p:nvSpPr>
        <p:spPr>
          <a:xfrm>
            <a:off x="472487" y="1812297"/>
            <a:ext cx="3347259" cy="207186"/>
          </a:xfrm>
          <a:prstGeom prst="rect">
            <a:avLst/>
          </a:prstGeom>
          <a:noFill/>
        </p:spPr>
        <p:txBody>
          <a:bodyPr wrap="square" lIns="68016" tIns="34009" rIns="68016" bIns="34009" rtlCol="0">
            <a:spAutoFit/>
          </a:bodyPr>
          <a:lstStyle/>
          <a:p>
            <a:r>
              <a:rPr lang="en-US" sz="900" spc="285">
                <a:solidFill>
                  <a:srgbClr val="025487"/>
                </a:solidFill>
                <a:cs typeface="Arial" panose="020B0604020202020204" pitchFamily="34" charset="0"/>
              </a:rPr>
              <a:t>MAYO CLINIC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6720D4-4C15-4A88-B39F-94C0F92209E8}"/>
              </a:ext>
            </a:extLst>
          </p:cNvPr>
          <p:cNvSpPr/>
          <p:nvPr/>
        </p:nvSpPr>
        <p:spPr>
          <a:xfrm>
            <a:off x="313267" y="4781382"/>
            <a:ext cx="2997200" cy="259726"/>
          </a:xfrm>
          <a:prstGeom prst="rect">
            <a:avLst/>
          </a:prstGeom>
          <a:solidFill>
            <a:srgbClr val="EEFA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16" tIns="34009" rIns="68016" bIns="34009" rtlCol="0" anchor="ctr"/>
          <a:lstStyle/>
          <a:p>
            <a:pPr algn="ctr"/>
            <a:endParaRPr lang="en-US" sz="2300">
              <a:solidFill>
                <a:srgbClr val="0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38F2A-E134-4488-A9CE-F1F2AA57FA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81" b="31056"/>
          <a:stretch/>
        </p:blipFill>
        <p:spPr>
          <a:xfrm>
            <a:off x="510667" y="4545989"/>
            <a:ext cx="1053469" cy="432585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E1066FB-E56A-4A49-972F-10C1E851DD3B}"/>
              </a:ext>
            </a:extLst>
          </p:cNvPr>
          <p:cNvCxnSpPr/>
          <p:nvPr/>
        </p:nvCxnSpPr>
        <p:spPr>
          <a:xfrm>
            <a:off x="1634755" y="4545989"/>
            <a:ext cx="0" cy="33492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AEEC102-4601-458A-83F1-06F76BA96A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62126" y="4648204"/>
            <a:ext cx="720090" cy="133919"/>
          </a:xfrm>
          <a:prstGeom prst="rect">
            <a:avLst/>
          </a:prstGeom>
        </p:spPr>
      </p:pic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8DEB4B50-5CE7-45BA-BBF5-4705E3836A4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10669" y="3415810"/>
            <a:ext cx="3347259" cy="295470"/>
          </a:xfrm>
          <a:noFill/>
        </p:spPr>
        <p:txBody>
          <a:bodyPr wrap="square" rtlCol="0">
            <a:spAutoFit/>
          </a:bodyPr>
          <a:lstStyle>
            <a:lvl1pPr>
              <a:defRPr lang="en-US" b="1" dirty="0" smtClean="0">
                <a:solidFill>
                  <a:srgbClr val="025487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84573978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38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211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A7448C-0FA3-4D47-B393-A8EEECE31EA1}"/>
              </a:ext>
            </a:extLst>
          </p:cNvPr>
          <p:cNvSpPr/>
          <p:nvPr/>
        </p:nvSpPr>
        <p:spPr>
          <a:xfrm>
            <a:off x="0" y="4774555"/>
            <a:ext cx="9144000" cy="3708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16" tIns="34009" rIns="68016" bIns="34009" rtlCol="0" anchor="ctr"/>
          <a:lstStyle/>
          <a:p>
            <a:pPr algn="ctr"/>
            <a:endParaRPr lang="en-US" sz="2300">
              <a:solidFill>
                <a:srgbClr val="000000"/>
              </a:solidFill>
            </a:endParaRPr>
          </a:p>
        </p:txBody>
      </p:sp>
      <p:pic>
        <p:nvPicPr>
          <p:cNvPr id="8" name="Picture 7" descr="Image result for mayo clinic logo white">
            <a:extLst>
              <a:ext uri="{FF2B5EF4-FFF2-40B4-BE49-F238E27FC236}">
                <a16:creationId xmlns:a16="http://schemas.microsoft.com/office/drawing/2014/main" id="{48FBFBC1-E387-47C1-B31D-41119B6F47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17" y="4842366"/>
            <a:ext cx="366810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1FDC076-B8DB-4FE2-B58D-B5F4F8E40D4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4747"/>
          <a:stretch/>
        </p:blipFill>
        <p:spPr>
          <a:xfrm>
            <a:off x="439953" y="4842366"/>
            <a:ext cx="495398" cy="24427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6B4E4E5-28DD-4D3E-8E32-4184058834C7}"/>
              </a:ext>
            </a:extLst>
          </p:cNvPr>
          <p:cNvCxnSpPr/>
          <p:nvPr/>
        </p:nvCxnSpPr>
        <p:spPr>
          <a:xfrm>
            <a:off x="1022600" y="4842366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5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7F802033-D9A4-4A74-B493-83349CD30F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9851" y="4808115"/>
            <a:ext cx="7145790" cy="303775"/>
          </a:xfrm>
        </p:spPr>
        <p:txBody>
          <a:bodyPr>
            <a:normAutofit/>
          </a:bodyPr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69946477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932666-F142-614B-BF5C-5AEF59CFA8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38" y="1659637"/>
            <a:ext cx="8346186" cy="1864376"/>
          </a:xfrm>
        </p:spPr>
        <p:txBody>
          <a:bodyPr anchor="ctr">
            <a:normAutofit/>
          </a:bodyPr>
          <a:lstStyle>
            <a:lvl1pPr algn="l">
              <a:defRPr lang="en-US" sz="3000" b="1" i="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93500F8-B093-47F1-B1A1-7448B35B2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38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211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15C093-9ACC-47C3-B8B1-4DDAFE05781C}"/>
              </a:ext>
            </a:extLst>
          </p:cNvPr>
          <p:cNvSpPr/>
          <p:nvPr/>
        </p:nvSpPr>
        <p:spPr>
          <a:xfrm>
            <a:off x="0" y="4774555"/>
            <a:ext cx="9144000" cy="3708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16" tIns="34009" rIns="68016" bIns="34009" rtlCol="0" anchor="ctr"/>
          <a:lstStyle/>
          <a:p>
            <a:pPr algn="ctr"/>
            <a:endParaRPr lang="en-US" sz="2300">
              <a:solidFill>
                <a:srgbClr val="000000"/>
              </a:solidFill>
            </a:endParaRPr>
          </a:p>
        </p:txBody>
      </p:sp>
      <p:pic>
        <p:nvPicPr>
          <p:cNvPr id="7" name="Picture 6" descr="Image result for mayo clinic logo white">
            <a:extLst>
              <a:ext uri="{FF2B5EF4-FFF2-40B4-BE49-F238E27FC236}">
                <a16:creationId xmlns:a16="http://schemas.microsoft.com/office/drawing/2014/main" id="{92AF4C93-44A5-4B2A-81C5-EA900067D0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17" y="4842366"/>
            <a:ext cx="366810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21BD9C-8EFC-4F55-A5A0-487DB528DE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4747"/>
          <a:stretch/>
        </p:blipFill>
        <p:spPr>
          <a:xfrm>
            <a:off x="439953" y="4842366"/>
            <a:ext cx="495398" cy="24427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6B63FC-B3C9-4305-9F23-D9236CCD28B2}"/>
              </a:ext>
            </a:extLst>
          </p:cNvPr>
          <p:cNvCxnSpPr/>
          <p:nvPr/>
        </p:nvCxnSpPr>
        <p:spPr>
          <a:xfrm>
            <a:off x="1022600" y="4842366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74CB338-BF26-45E4-B828-EA4479E26FD1}"/>
              </a:ext>
            </a:extLst>
          </p:cNvPr>
          <p:cNvSpPr txBox="1">
            <a:spLocks/>
          </p:cNvSpPr>
          <p:nvPr/>
        </p:nvSpPr>
        <p:spPr>
          <a:xfrm>
            <a:off x="6657975" y="4834275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5DF25856-9982-4FD8-9269-5D381E66AA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9851" y="4808115"/>
            <a:ext cx="7145790" cy="303775"/>
          </a:xfrm>
        </p:spPr>
        <p:txBody>
          <a:bodyPr>
            <a:normAutofit/>
          </a:bodyPr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8971802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2643380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04549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218441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965584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2003674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83870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7271220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69919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873638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79305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4347258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81165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number_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579146" y="0"/>
            <a:ext cx="4564854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3698081"/>
            <a:ext cx="3581142" cy="1047750"/>
          </a:xfrm>
        </p:spPr>
        <p:txBody>
          <a:bodyPr anchor="t" anchorCtr="0"/>
          <a:lstStyle>
            <a:lvl1pPr algn="l">
              <a:defRPr sz="24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730044" y="402431"/>
            <a:ext cx="1184018" cy="1558119"/>
          </a:xfrm>
        </p:spPr>
        <p:txBody>
          <a:bodyPr bIns="0">
            <a:spAutoFit/>
          </a:bodyPr>
          <a:lstStyle>
            <a:lvl1pPr marL="0" indent="0">
              <a:buNone/>
              <a:defRPr sz="113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3429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384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901343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985973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99683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3928771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0623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120088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932666-F142-614B-BF5C-5AEF59CFA8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38" y="1659643"/>
            <a:ext cx="8346186" cy="1864376"/>
          </a:xfrm>
        </p:spPr>
        <p:txBody>
          <a:bodyPr anchor="ctr">
            <a:normAutofit/>
          </a:bodyPr>
          <a:lstStyle>
            <a:lvl1pPr algn="l">
              <a:defRPr lang="en-US" sz="3000" b="1" i="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93500F8-B093-47F1-B1A1-7448B35B2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15C093-9ACC-47C3-B8B1-4DDAFE05781C}"/>
              </a:ext>
            </a:extLst>
          </p:cNvPr>
          <p:cNvSpPr/>
          <p:nvPr/>
        </p:nvSpPr>
        <p:spPr>
          <a:xfrm>
            <a:off x="0" y="4774555"/>
            <a:ext cx="9144000" cy="3708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16" tIns="34009" rIns="68016" bIns="34009" rtlCol="0" anchor="ctr"/>
          <a:lstStyle/>
          <a:p>
            <a:pPr algn="ctr"/>
            <a:endParaRPr lang="en-US" sz="2300">
              <a:solidFill>
                <a:srgbClr val="000000"/>
              </a:solidFill>
            </a:endParaRPr>
          </a:p>
        </p:txBody>
      </p:sp>
      <p:pic>
        <p:nvPicPr>
          <p:cNvPr id="7" name="Picture 6" descr="Image result for mayo clinic logo white">
            <a:extLst>
              <a:ext uri="{FF2B5EF4-FFF2-40B4-BE49-F238E27FC236}">
                <a16:creationId xmlns:a16="http://schemas.microsoft.com/office/drawing/2014/main" id="{92AF4C93-44A5-4B2A-81C5-EA900067D0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21" y="4842372"/>
            <a:ext cx="366809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21BD9C-8EFC-4F55-A5A0-487DB528DE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4747"/>
          <a:stretch/>
        </p:blipFill>
        <p:spPr>
          <a:xfrm>
            <a:off x="439958" y="4842372"/>
            <a:ext cx="495397" cy="24427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6B63FC-B3C9-4305-9F23-D9236CCD28B2}"/>
              </a:ext>
            </a:extLst>
          </p:cNvPr>
          <p:cNvCxnSpPr/>
          <p:nvPr/>
        </p:nvCxnSpPr>
        <p:spPr>
          <a:xfrm>
            <a:off x="1022599" y="4842372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74CB338-BF26-45E4-B828-EA4479E26FD1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5DF25856-9982-4FD8-9269-5D381E66AA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9852" y="4808117"/>
            <a:ext cx="7145790" cy="303775"/>
          </a:xfrm>
        </p:spPr>
        <p:txBody>
          <a:bodyPr>
            <a:normAutofit/>
          </a:bodyPr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0354007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756212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01232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981874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538326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612417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409527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747027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3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3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20"/>
            <a:ext cx="6025224" cy="211402"/>
          </a:xfrm>
        </p:spPr>
        <p:txBody>
          <a:bodyPr>
            <a:normAutofit/>
          </a:bodyPr>
          <a:lstStyle>
            <a:lvl1pPr>
              <a:defRPr lang="en-US" sz="900" b="0" i="0" kern="1200" spc="285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867176" rtl="0" eaLnBrk="1" fontAlgn="auto" latinLnBrk="0" hangingPunct="1">
              <a:lnSpc>
                <a:spcPct val="90000"/>
              </a:lnSpc>
              <a:spcBef>
                <a:spcPts val="94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/>
        </p:nvSpPr>
        <p:spPr>
          <a:xfrm>
            <a:off x="6657975" y="4834278"/>
            <a:ext cx="2057400" cy="273844"/>
          </a:xfrm>
          <a:prstGeom prst="rect">
            <a:avLst/>
          </a:prstGeom>
        </p:spPr>
        <p:txBody>
          <a:bodyPr vert="horz" wrap="none" lIns="86721" tIns="43361" rIns="86721" bIns="43361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8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556966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 Colum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802" y="261258"/>
            <a:ext cx="8281434" cy="598132"/>
          </a:xfrm>
        </p:spPr>
        <p:txBody>
          <a:bodyPr anchor="b">
            <a:no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50CAC-1C8C-DD4D-A22D-5B0B73F4B222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821A3-96FC-1243-9172-4303A46FC069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29614" y="866204"/>
            <a:ext cx="8281624" cy="351664"/>
          </a:xfrm>
        </p:spPr>
        <p:txBody>
          <a:bodyPr/>
          <a:lstStyle>
            <a:lvl1pPr marL="0" indent="0">
              <a:buNone/>
              <a:defRPr sz="1400"/>
            </a:lvl1pPr>
            <a:lvl2pPr marL="342892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29614" y="4568337"/>
            <a:ext cx="4010297" cy="26874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/>
              <a:t>Proprietary and confidential. Do not distribute.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046591" y="1479551"/>
            <a:ext cx="3571875" cy="3000375"/>
          </a:xfrm>
        </p:spPr>
        <p:txBody>
          <a:bodyPr/>
          <a:lstStyle>
            <a:lvl1pPr marL="0" indent="0">
              <a:buNone/>
              <a:defRPr/>
            </a:lvl1pPr>
            <a:lvl2pPr marL="234944" indent="0">
              <a:buNone/>
              <a:defRPr/>
            </a:lvl2pPr>
            <a:lvl3pPr marL="460364" indent="0">
              <a:buNone/>
              <a:defRPr/>
            </a:lvl3pPr>
            <a:lvl4pPr marL="685783" indent="0">
              <a:buNone/>
              <a:defRPr/>
            </a:lvl4pPr>
            <a:lvl5pPr marL="92072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045892" y="1479551"/>
            <a:ext cx="3525484" cy="3000375"/>
          </a:xfrm>
        </p:spPr>
        <p:txBody>
          <a:bodyPr/>
          <a:lstStyle>
            <a:lvl1pPr marL="0" indent="0">
              <a:buNone/>
              <a:tabLst/>
              <a:defRPr sz="1400"/>
            </a:lvl1pPr>
            <a:lvl2pPr marL="177796" indent="0">
              <a:buNone/>
              <a:tabLst/>
              <a:defRPr sz="1400"/>
            </a:lvl2pPr>
            <a:lvl3pPr marL="347654" indent="0">
              <a:buNone/>
              <a:tabLst/>
              <a:defRPr sz="1300"/>
            </a:lvl3pPr>
            <a:lvl4pPr marL="515924" indent="0">
              <a:buNone/>
              <a:tabLst/>
              <a:defRPr sz="1200"/>
            </a:lvl4pPr>
            <a:lvl5pPr marL="695308" indent="0">
              <a:buNone/>
              <a:tabLst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4828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64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50/5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1953" y="1600200"/>
            <a:ext cx="3001157" cy="2878169"/>
          </a:xfrm>
          <a:prstGeom prst="rect">
            <a:avLst/>
          </a:prstGeom>
        </p:spPr>
        <p:txBody>
          <a:bodyPr tIns="4572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42900" indent="0">
              <a:buNone/>
              <a:defRPr>
                <a:solidFill>
                  <a:schemeClr val="tx1"/>
                </a:solidFill>
              </a:defRPr>
            </a:lvl2pPr>
            <a:lvl3pPr marL="685800" indent="0">
              <a:buNone/>
              <a:defRPr>
                <a:solidFill>
                  <a:schemeClr val="tx1"/>
                </a:solidFill>
              </a:defRPr>
            </a:lvl3pPr>
            <a:lvl4pPr marL="1028700" indent="0">
              <a:buNone/>
              <a:defRPr>
                <a:solidFill>
                  <a:schemeClr val="tx1"/>
                </a:solidFill>
              </a:defRPr>
            </a:lvl4pPr>
            <a:lvl5pPr marL="13716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9" name="Rectangle">
            <a:extLst>
              <a:ext uri="{FF2B5EF4-FFF2-40B4-BE49-F238E27FC236}">
                <a16:creationId xmlns:a16="http://schemas.microsoft.com/office/drawing/2014/main" id="{E3A49D71-7B0E-4D10-AA5B-0A1C38D74679}"/>
              </a:ext>
            </a:extLst>
          </p:cNvPr>
          <p:cNvSpPr/>
          <p:nvPr userDrawn="1"/>
        </p:nvSpPr>
        <p:spPr>
          <a:xfrm>
            <a:off x="741953" y="1286045"/>
            <a:ext cx="310752" cy="49908"/>
          </a:xfrm>
          <a:prstGeom prst="rect">
            <a:avLst/>
          </a:prstGeom>
          <a:solidFill>
            <a:srgbClr val="0057B8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619125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4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BF67CE1-2E7A-41FD-A8A1-8FA22EBE1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7067" y="613122"/>
            <a:ext cx="3570546" cy="44053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4B7DFF7-DA5A-4044-80A0-3220F5C5424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4593" y="0"/>
            <a:ext cx="5398652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527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number_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44300" y="0"/>
            <a:ext cx="53997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3698081"/>
            <a:ext cx="2742723" cy="1047750"/>
          </a:xfrm>
        </p:spPr>
        <p:txBody>
          <a:bodyPr anchor="t" anchorCtr="0"/>
          <a:lstStyle>
            <a:lvl1pPr algn="l">
              <a:defRPr sz="24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730044" y="402431"/>
            <a:ext cx="1184018" cy="1558119"/>
          </a:xfrm>
        </p:spPr>
        <p:txBody>
          <a:bodyPr bIns="0">
            <a:spAutoFit/>
          </a:bodyPr>
          <a:lstStyle>
            <a:lvl1pPr marL="0" indent="0">
              <a:buNone/>
              <a:defRPr sz="113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3429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991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">
  <p:cSld name="6_Title Slid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7"/>
          <p:cNvSpPr/>
          <p:nvPr/>
        </p:nvSpPr>
        <p:spPr>
          <a:xfrm>
            <a:off x="-868" y="0"/>
            <a:ext cx="300989" cy="307706"/>
          </a:xfrm>
          <a:custGeom>
            <a:avLst/>
            <a:gdLst/>
            <a:ahLst/>
            <a:cxnLst/>
            <a:rect l="l" t="t" r="r" b="b"/>
            <a:pathLst>
              <a:path w="401318" h="410274" extrusionOk="0">
                <a:moveTo>
                  <a:pt x="0" y="0"/>
                </a:moveTo>
                <a:lnTo>
                  <a:pt x="401318" y="0"/>
                </a:lnTo>
                <a:lnTo>
                  <a:pt x="401318" y="410274"/>
                </a:lnTo>
                <a:lnTo>
                  <a:pt x="0" y="410274"/>
                </a:lnTo>
                <a:close/>
              </a:path>
            </a:pathLst>
          </a:custGeom>
          <a:solidFill>
            <a:srgbClr val="FD5C14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35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40;p27"/>
          <p:cNvSpPr/>
          <p:nvPr/>
        </p:nvSpPr>
        <p:spPr>
          <a:xfrm>
            <a:off x="-4963" y="288935"/>
            <a:ext cx="305084" cy="4858408"/>
          </a:xfrm>
          <a:custGeom>
            <a:avLst/>
            <a:gdLst/>
            <a:ahLst/>
            <a:cxnLst/>
            <a:rect l="l" t="t" r="r" b="b"/>
            <a:pathLst>
              <a:path w="402016" h="6462886" extrusionOk="0">
                <a:moveTo>
                  <a:pt x="0" y="0"/>
                </a:moveTo>
                <a:lnTo>
                  <a:pt x="402017" y="0"/>
                </a:lnTo>
                <a:lnTo>
                  <a:pt x="402017" y="6462887"/>
                </a:lnTo>
                <a:lnTo>
                  <a:pt x="0" y="6462887"/>
                </a:lnTo>
                <a:close/>
              </a:path>
            </a:pathLst>
          </a:custGeom>
          <a:solidFill>
            <a:srgbClr val="0D0D9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35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1" name="Google Shape;41;p27"/>
          <p:cNvGrpSpPr/>
          <p:nvPr/>
        </p:nvGrpSpPr>
        <p:grpSpPr>
          <a:xfrm>
            <a:off x="30268" y="1182237"/>
            <a:ext cx="270808" cy="3961263"/>
            <a:chOff x="40357" y="1616452"/>
            <a:chExt cx="372797" cy="5453112"/>
          </a:xfrm>
        </p:grpSpPr>
        <p:sp>
          <p:nvSpPr>
            <p:cNvPr id="42" name="Google Shape;42;p27"/>
            <p:cNvSpPr/>
            <p:nvPr/>
          </p:nvSpPr>
          <p:spPr>
            <a:xfrm>
              <a:off x="40357" y="2408861"/>
              <a:ext cx="316328" cy="4660702"/>
            </a:xfrm>
            <a:custGeom>
              <a:avLst/>
              <a:gdLst/>
              <a:ahLst/>
              <a:cxnLst/>
              <a:rect l="l" t="t" r="r" b="b"/>
              <a:pathLst>
                <a:path w="316328" h="4660702" extrusionOk="0">
                  <a:moveTo>
                    <a:pt x="5780" y="4660703"/>
                  </a:moveTo>
                  <a:lnTo>
                    <a:pt x="0" y="4660703"/>
                  </a:lnTo>
                  <a:lnTo>
                    <a:pt x="0" y="1264933"/>
                  </a:lnTo>
                  <a:lnTo>
                    <a:pt x="310548" y="954449"/>
                  </a:lnTo>
                  <a:lnTo>
                    <a:pt x="310548" y="153845"/>
                  </a:lnTo>
                  <a:lnTo>
                    <a:pt x="160832" y="4129"/>
                  </a:lnTo>
                  <a:lnTo>
                    <a:pt x="164897" y="0"/>
                  </a:lnTo>
                  <a:lnTo>
                    <a:pt x="316329" y="151431"/>
                  </a:lnTo>
                  <a:lnTo>
                    <a:pt x="316329" y="956799"/>
                  </a:lnTo>
                  <a:lnTo>
                    <a:pt x="5780" y="1267347"/>
                  </a:lnTo>
                  <a:lnTo>
                    <a:pt x="5780" y="4660703"/>
                  </a:lnTo>
                  <a:close/>
                </a:path>
              </a:pathLst>
            </a:custGeom>
            <a:solidFill>
              <a:srgbClr val="0091FF">
                <a:alpha val="55294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43;p27"/>
            <p:cNvSpPr/>
            <p:nvPr/>
          </p:nvSpPr>
          <p:spPr>
            <a:xfrm>
              <a:off x="106227" y="1616452"/>
              <a:ext cx="306927" cy="5453112"/>
            </a:xfrm>
            <a:custGeom>
              <a:avLst/>
              <a:gdLst/>
              <a:ahLst/>
              <a:cxnLst/>
              <a:rect l="l" t="t" r="r" b="b"/>
              <a:pathLst>
                <a:path w="306927" h="5453112" extrusionOk="0">
                  <a:moveTo>
                    <a:pt x="5780" y="5453112"/>
                  </a:moveTo>
                  <a:lnTo>
                    <a:pt x="0" y="5453112"/>
                  </a:lnTo>
                  <a:lnTo>
                    <a:pt x="0" y="1888000"/>
                  </a:lnTo>
                  <a:lnTo>
                    <a:pt x="301147" y="1586852"/>
                  </a:lnTo>
                  <a:lnTo>
                    <a:pt x="301147" y="0"/>
                  </a:lnTo>
                  <a:lnTo>
                    <a:pt x="306928" y="0"/>
                  </a:lnTo>
                  <a:lnTo>
                    <a:pt x="306928" y="1589266"/>
                  </a:lnTo>
                  <a:lnTo>
                    <a:pt x="5780" y="1890350"/>
                  </a:lnTo>
                  <a:lnTo>
                    <a:pt x="5780" y="5453112"/>
                  </a:lnTo>
                  <a:close/>
                </a:path>
              </a:pathLst>
            </a:custGeom>
            <a:solidFill>
              <a:srgbClr val="0091FF">
                <a:alpha val="55294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44;p27"/>
            <p:cNvSpPr/>
            <p:nvPr/>
          </p:nvSpPr>
          <p:spPr>
            <a:xfrm>
              <a:off x="221515" y="3459225"/>
              <a:ext cx="188717" cy="3610338"/>
            </a:xfrm>
            <a:custGeom>
              <a:avLst/>
              <a:gdLst/>
              <a:ahLst/>
              <a:cxnLst/>
              <a:rect l="l" t="t" r="r" b="b"/>
              <a:pathLst>
                <a:path w="188717" h="3610338" extrusionOk="0">
                  <a:moveTo>
                    <a:pt x="188717" y="5780"/>
                  </a:moveTo>
                  <a:lnTo>
                    <a:pt x="154480" y="5780"/>
                  </a:lnTo>
                  <a:lnTo>
                    <a:pt x="5780" y="154543"/>
                  </a:lnTo>
                  <a:lnTo>
                    <a:pt x="5780" y="3610339"/>
                  </a:lnTo>
                  <a:lnTo>
                    <a:pt x="0" y="3610339"/>
                  </a:lnTo>
                  <a:lnTo>
                    <a:pt x="0" y="152130"/>
                  </a:lnTo>
                  <a:lnTo>
                    <a:pt x="152130" y="0"/>
                  </a:lnTo>
                  <a:lnTo>
                    <a:pt x="188717" y="0"/>
                  </a:lnTo>
                </a:path>
              </a:pathLst>
            </a:custGeom>
            <a:solidFill>
              <a:srgbClr val="0091FF">
                <a:alpha val="55294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45;p27"/>
            <p:cNvSpPr/>
            <p:nvPr/>
          </p:nvSpPr>
          <p:spPr>
            <a:xfrm>
              <a:off x="200300" y="4690175"/>
              <a:ext cx="48146" cy="48148"/>
            </a:xfrm>
            <a:custGeom>
              <a:avLst/>
              <a:gdLst/>
              <a:ahLst/>
              <a:cxnLst/>
              <a:rect l="l" t="t" r="r" b="b"/>
              <a:pathLst>
                <a:path w="48146" h="48148" extrusionOk="0">
                  <a:moveTo>
                    <a:pt x="22017" y="48148"/>
                  </a:moveTo>
                  <a:cubicBezTo>
                    <a:pt x="8741" y="48148"/>
                    <a:pt x="-2057" y="37369"/>
                    <a:pt x="-2057" y="24074"/>
                  </a:cubicBezTo>
                  <a:cubicBezTo>
                    <a:pt x="-2057" y="10779"/>
                    <a:pt x="8741" y="0"/>
                    <a:pt x="22017" y="0"/>
                  </a:cubicBezTo>
                  <a:cubicBezTo>
                    <a:pt x="35292" y="0"/>
                    <a:pt x="46090" y="10779"/>
                    <a:pt x="46090" y="24074"/>
                  </a:cubicBezTo>
                  <a:cubicBezTo>
                    <a:pt x="46090" y="24093"/>
                    <a:pt x="46090" y="24118"/>
                    <a:pt x="46090" y="24137"/>
                  </a:cubicBezTo>
                  <a:cubicBezTo>
                    <a:pt x="46028" y="37407"/>
                    <a:pt x="35292" y="48148"/>
                    <a:pt x="22017" y="48148"/>
                  </a:cubicBezTo>
                  <a:close/>
                </a:path>
              </a:pathLst>
            </a:custGeom>
            <a:solidFill>
              <a:srgbClr val="0091FF">
                <a:alpha val="55294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27"/>
            <p:cNvSpPr/>
            <p:nvPr/>
          </p:nvSpPr>
          <p:spPr>
            <a:xfrm>
              <a:off x="200300" y="4620303"/>
              <a:ext cx="48146" cy="48148"/>
            </a:xfrm>
            <a:custGeom>
              <a:avLst/>
              <a:gdLst/>
              <a:ahLst/>
              <a:cxnLst/>
              <a:rect l="l" t="t" r="r" b="b"/>
              <a:pathLst>
                <a:path w="48146" h="48148" extrusionOk="0">
                  <a:moveTo>
                    <a:pt x="22017" y="48148"/>
                  </a:moveTo>
                  <a:cubicBezTo>
                    <a:pt x="8741" y="48148"/>
                    <a:pt x="-2057" y="37369"/>
                    <a:pt x="-2057" y="24074"/>
                  </a:cubicBezTo>
                  <a:cubicBezTo>
                    <a:pt x="-2057" y="10779"/>
                    <a:pt x="8741" y="0"/>
                    <a:pt x="22017" y="0"/>
                  </a:cubicBezTo>
                  <a:cubicBezTo>
                    <a:pt x="35292" y="0"/>
                    <a:pt x="46090" y="10779"/>
                    <a:pt x="46090" y="24074"/>
                  </a:cubicBezTo>
                  <a:cubicBezTo>
                    <a:pt x="46090" y="37369"/>
                    <a:pt x="35292" y="48148"/>
                    <a:pt x="22017" y="48148"/>
                  </a:cubicBezTo>
                  <a:close/>
                </a:path>
              </a:pathLst>
            </a:custGeom>
            <a:solidFill>
              <a:srgbClr val="0091FF">
                <a:alpha val="55294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27"/>
            <p:cNvSpPr/>
            <p:nvPr/>
          </p:nvSpPr>
          <p:spPr>
            <a:xfrm>
              <a:off x="200300" y="4550432"/>
              <a:ext cx="48146" cy="48148"/>
            </a:xfrm>
            <a:custGeom>
              <a:avLst/>
              <a:gdLst/>
              <a:ahLst/>
              <a:cxnLst/>
              <a:rect l="l" t="t" r="r" b="b"/>
              <a:pathLst>
                <a:path w="48146" h="48148" extrusionOk="0">
                  <a:moveTo>
                    <a:pt x="22017" y="48148"/>
                  </a:moveTo>
                  <a:cubicBezTo>
                    <a:pt x="8741" y="48148"/>
                    <a:pt x="-2057" y="37369"/>
                    <a:pt x="-2057" y="24074"/>
                  </a:cubicBezTo>
                  <a:cubicBezTo>
                    <a:pt x="-2057" y="10779"/>
                    <a:pt x="8741" y="0"/>
                    <a:pt x="22017" y="0"/>
                  </a:cubicBezTo>
                  <a:cubicBezTo>
                    <a:pt x="35292" y="0"/>
                    <a:pt x="46090" y="10779"/>
                    <a:pt x="46090" y="24074"/>
                  </a:cubicBezTo>
                  <a:cubicBezTo>
                    <a:pt x="46090" y="37369"/>
                    <a:pt x="35292" y="48148"/>
                    <a:pt x="22017" y="48148"/>
                  </a:cubicBezTo>
                  <a:close/>
                </a:path>
              </a:pathLst>
            </a:custGeom>
            <a:solidFill>
              <a:srgbClr val="0091FF">
                <a:alpha val="55294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48;p27"/>
            <p:cNvSpPr/>
            <p:nvPr/>
          </p:nvSpPr>
          <p:spPr>
            <a:xfrm>
              <a:off x="179083" y="2386820"/>
              <a:ext cx="48148" cy="48148"/>
            </a:xfrm>
            <a:custGeom>
              <a:avLst/>
              <a:gdLst/>
              <a:ahLst/>
              <a:cxnLst/>
              <a:rect l="l" t="t" r="r" b="b"/>
              <a:pathLst>
                <a:path w="48148" h="48148" extrusionOk="0">
                  <a:moveTo>
                    <a:pt x="22081" y="48148"/>
                  </a:moveTo>
                  <a:cubicBezTo>
                    <a:pt x="8805" y="48186"/>
                    <a:pt x="-1993" y="37432"/>
                    <a:pt x="-2057" y="24138"/>
                  </a:cubicBezTo>
                  <a:cubicBezTo>
                    <a:pt x="-2120" y="10843"/>
                    <a:pt x="8678" y="38"/>
                    <a:pt x="21954" y="0"/>
                  </a:cubicBezTo>
                  <a:cubicBezTo>
                    <a:pt x="35230" y="-38"/>
                    <a:pt x="46028" y="10716"/>
                    <a:pt x="46092" y="24011"/>
                  </a:cubicBezTo>
                  <a:cubicBezTo>
                    <a:pt x="46092" y="24030"/>
                    <a:pt x="46092" y="24055"/>
                    <a:pt x="46092" y="24074"/>
                  </a:cubicBezTo>
                  <a:cubicBezTo>
                    <a:pt x="46092" y="37343"/>
                    <a:pt x="35357" y="48110"/>
                    <a:pt x="22081" y="48148"/>
                  </a:cubicBezTo>
                  <a:close/>
                </a:path>
              </a:pathLst>
            </a:custGeom>
            <a:solidFill>
              <a:srgbClr val="0091FF">
                <a:alpha val="55294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" name="Google Shape;49;p27"/>
          <p:cNvSpPr txBox="1"/>
          <p:nvPr/>
        </p:nvSpPr>
        <p:spPr>
          <a:xfrm rot="-5400000">
            <a:off x="-125610" y="2043697"/>
            <a:ext cx="549428" cy="161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600" b="0" i="0" u="none" strike="noStrike" cap="none">
                <a:solidFill>
                  <a:srgbClr val="DDEAF6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onfidential</a:t>
            </a:r>
            <a:endParaRPr sz="600" b="0" i="0" u="none" strike="noStrike" cap="none">
              <a:solidFill>
                <a:srgbClr val="DDEAF6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0" name="Google Shape;50;p27"/>
          <p:cNvSpPr/>
          <p:nvPr/>
        </p:nvSpPr>
        <p:spPr>
          <a:xfrm>
            <a:off x="90412" y="84989"/>
            <a:ext cx="117431" cy="137798"/>
          </a:xfrm>
          <a:custGeom>
            <a:avLst/>
            <a:gdLst/>
            <a:ahLst/>
            <a:cxnLst/>
            <a:rect l="l" t="t" r="r" b="b"/>
            <a:pathLst>
              <a:path w="156575" h="183730" extrusionOk="0">
                <a:moveTo>
                  <a:pt x="65528" y="66950"/>
                </a:moveTo>
                <a:cubicBezTo>
                  <a:pt x="75819" y="66949"/>
                  <a:pt x="86044" y="68666"/>
                  <a:pt x="95763" y="72032"/>
                </a:cubicBezTo>
                <a:cubicBezTo>
                  <a:pt x="97098" y="72464"/>
                  <a:pt x="98496" y="71795"/>
                  <a:pt x="99003" y="70507"/>
                </a:cubicBezTo>
                <a:cubicBezTo>
                  <a:pt x="99003" y="70233"/>
                  <a:pt x="99003" y="69956"/>
                  <a:pt x="99003" y="69681"/>
                </a:cubicBezTo>
                <a:lnTo>
                  <a:pt x="99003" y="66950"/>
                </a:lnTo>
                <a:cubicBezTo>
                  <a:pt x="99003" y="56342"/>
                  <a:pt x="90365" y="47894"/>
                  <a:pt x="72388" y="47894"/>
                </a:cubicBezTo>
                <a:cubicBezTo>
                  <a:pt x="57906" y="48168"/>
                  <a:pt x="43614" y="51570"/>
                  <a:pt x="30592" y="57867"/>
                </a:cubicBezTo>
                <a:cubicBezTo>
                  <a:pt x="29385" y="58438"/>
                  <a:pt x="27988" y="57992"/>
                  <a:pt x="27352" y="56850"/>
                </a:cubicBezTo>
                <a:lnTo>
                  <a:pt x="8996" y="23693"/>
                </a:lnTo>
                <a:cubicBezTo>
                  <a:pt x="8360" y="22543"/>
                  <a:pt x="8741" y="21117"/>
                  <a:pt x="9821" y="20390"/>
                </a:cubicBezTo>
                <a:cubicBezTo>
                  <a:pt x="30402" y="7054"/>
                  <a:pt x="54475" y="-28"/>
                  <a:pt x="78995" y="0"/>
                </a:cubicBezTo>
                <a:cubicBezTo>
                  <a:pt x="139211" y="0"/>
                  <a:pt x="154519" y="30934"/>
                  <a:pt x="154519" y="70888"/>
                </a:cubicBezTo>
                <a:lnTo>
                  <a:pt x="154519" y="176585"/>
                </a:lnTo>
                <a:cubicBezTo>
                  <a:pt x="154455" y="177964"/>
                  <a:pt x="153376" y="179063"/>
                  <a:pt x="151979" y="179062"/>
                </a:cubicBezTo>
                <a:lnTo>
                  <a:pt x="106815" y="179062"/>
                </a:lnTo>
                <a:cubicBezTo>
                  <a:pt x="105736" y="179038"/>
                  <a:pt x="104720" y="178327"/>
                  <a:pt x="104402" y="177284"/>
                </a:cubicBezTo>
                <a:lnTo>
                  <a:pt x="103132" y="173155"/>
                </a:lnTo>
                <a:cubicBezTo>
                  <a:pt x="102751" y="171845"/>
                  <a:pt x="101354" y="171101"/>
                  <a:pt x="100020" y="171495"/>
                </a:cubicBezTo>
                <a:cubicBezTo>
                  <a:pt x="100020" y="171498"/>
                  <a:pt x="100020" y="171501"/>
                  <a:pt x="100020" y="171504"/>
                </a:cubicBezTo>
                <a:lnTo>
                  <a:pt x="99511" y="172266"/>
                </a:lnTo>
                <a:cubicBezTo>
                  <a:pt x="89031" y="180373"/>
                  <a:pt x="76009" y="184413"/>
                  <a:pt x="62797" y="183636"/>
                </a:cubicBezTo>
                <a:cubicBezTo>
                  <a:pt x="28497" y="183636"/>
                  <a:pt x="-2057" y="163055"/>
                  <a:pt x="-2057" y="125134"/>
                </a:cubicBezTo>
                <a:cubicBezTo>
                  <a:pt x="-2120" y="89690"/>
                  <a:pt x="24303" y="66950"/>
                  <a:pt x="65528" y="66950"/>
                </a:cubicBezTo>
                <a:close/>
                <a:moveTo>
                  <a:pt x="76834" y="140823"/>
                </a:moveTo>
                <a:cubicBezTo>
                  <a:pt x="90174" y="140823"/>
                  <a:pt x="100147" y="134471"/>
                  <a:pt x="100147" y="122847"/>
                </a:cubicBezTo>
                <a:cubicBezTo>
                  <a:pt x="100147" y="111223"/>
                  <a:pt x="89793" y="104236"/>
                  <a:pt x="76516" y="104236"/>
                </a:cubicBezTo>
                <a:cubicBezTo>
                  <a:pt x="63242" y="104236"/>
                  <a:pt x="53205" y="111541"/>
                  <a:pt x="53205" y="122847"/>
                </a:cubicBezTo>
                <a:cubicBezTo>
                  <a:pt x="53205" y="134154"/>
                  <a:pt x="63876" y="140823"/>
                  <a:pt x="76834" y="14082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35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" name="Google Shape;51;p27"/>
          <p:cNvSpPr/>
          <p:nvPr/>
        </p:nvSpPr>
        <p:spPr>
          <a:xfrm>
            <a:off x="-4962" y="288936"/>
            <a:ext cx="8846783" cy="4858408"/>
          </a:xfrm>
          <a:custGeom>
            <a:avLst/>
            <a:gdLst/>
            <a:ahLst/>
            <a:cxnLst/>
            <a:rect l="l" t="t" r="r" b="b"/>
            <a:pathLst>
              <a:path w="11875981" h="6626132" extrusionOk="0">
                <a:moveTo>
                  <a:pt x="0" y="0"/>
                </a:moveTo>
                <a:lnTo>
                  <a:pt x="11875982" y="0"/>
                </a:lnTo>
                <a:lnTo>
                  <a:pt x="11875982" y="6626133"/>
                </a:lnTo>
                <a:lnTo>
                  <a:pt x="0" y="6626133"/>
                </a:lnTo>
                <a:close/>
              </a:path>
            </a:pathLst>
          </a:custGeom>
          <a:noFill/>
          <a:ln w="9525" cap="flat" cmpd="sng">
            <a:solidFill>
              <a:srgbClr val="5375E0">
                <a:alpha val="95294"/>
              </a:srgbClr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35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" name="Google Shape;52;p27"/>
          <p:cNvSpPr/>
          <p:nvPr/>
        </p:nvSpPr>
        <p:spPr>
          <a:xfrm>
            <a:off x="539431" y="1272689"/>
            <a:ext cx="8083076" cy="3535887"/>
          </a:xfrm>
          <a:prstGeom prst="rect">
            <a:avLst/>
          </a:prstGeom>
          <a:solidFill>
            <a:srgbClr val="CDE4F9">
              <a:alpha val="45490"/>
            </a:srgb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3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3" name="Google Shape;53;p27"/>
          <p:cNvGrpSpPr/>
          <p:nvPr/>
        </p:nvGrpSpPr>
        <p:grpSpPr>
          <a:xfrm>
            <a:off x="84409" y="4465906"/>
            <a:ext cx="117242" cy="380543"/>
            <a:chOff x="112545" y="5954541"/>
            <a:chExt cx="156323" cy="507391"/>
          </a:xfrm>
        </p:grpSpPr>
        <p:sp>
          <p:nvSpPr>
            <p:cNvPr id="54" name="Google Shape;54;p27"/>
            <p:cNvSpPr/>
            <p:nvPr/>
          </p:nvSpPr>
          <p:spPr>
            <a:xfrm>
              <a:off x="152179" y="6362080"/>
              <a:ext cx="116689" cy="99852"/>
            </a:xfrm>
            <a:custGeom>
              <a:avLst/>
              <a:gdLst/>
              <a:ahLst/>
              <a:cxnLst/>
              <a:rect l="l" t="t" r="r" b="b"/>
              <a:pathLst>
                <a:path w="116689" h="99852" extrusionOk="0">
                  <a:moveTo>
                    <a:pt x="40249" y="56533"/>
                  </a:moveTo>
                  <a:cubicBezTo>
                    <a:pt x="40249" y="50054"/>
                    <a:pt x="41330" y="43638"/>
                    <a:pt x="43425" y="37477"/>
                  </a:cubicBezTo>
                  <a:cubicBezTo>
                    <a:pt x="43743" y="36651"/>
                    <a:pt x="43362" y="35762"/>
                    <a:pt x="42537" y="35444"/>
                  </a:cubicBezTo>
                  <a:cubicBezTo>
                    <a:pt x="42346" y="35381"/>
                    <a:pt x="42155" y="35317"/>
                    <a:pt x="41965" y="35317"/>
                  </a:cubicBezTo>
                  <a:lnTo>
                    <a:pt x="40249" y="35317"/>
                  </a:lnTo>
                  <a:cubicBezTo>
                    <a:pt x="33454" y="35317"/>
                    <a:pt x="28181" y="40843"/>
                    <a:pt x="28181" y="52277"/>
                  </a:cubicBezTo>
                  <a:cubicBezTo>
                    <a:pt x="28372" y="61487"/>
                    <a:pt x="30532" y="70570"/>
                    <a:pt x="34533" y="78828"/>
                  </a:cubicBezTo>
                  <a:cubicBezTo>
                    <a:pt x="34851" y="79590"/>
                    <a:pt x="34597" y="80479"/>
                    <a:pt x="33897" y="80924"/>
                  </a:cubicBezTo>
                  <a:lnTo>
                    <a:pt x="12746" y="92612"/>
                  </a:lnTo>
                  <a:cubicBezTo>
                    <a:pt x="11983" y="92993"/>
                    <a:pt x="11095" y="92739"/>
                    <a:pt x="10650" y="92040"/>
                  </a:cubicBezTo>
                  <a:cubicBezTo>
                    <a:pt x="2265" y="78891"/>
                    <a:pt x="-2181" y="63583"/>
                    <a:pt x="-2054" y="48021"/>
                  </a:cubicBezTo>
                  <a:cubicBezTo>
                    <a:pt x="-2054" y="9909"/>
                    <a:pt x="17637" y="0"/>
                    <a:pt x="43045" y="0"/>
                  </a:cubicBezTo>
                  <a:lnTo>
                    <a:pt x="110248" y="0"/>
                  </a:lnTo>
                  <a:cubicBezTo>
                    <a:pt x="111138" y="0"/>
                    <a:pt x="111836" y="699"/>
                    <a:pt x="111836" y="1588"/>
                  </a:cubicBezTo>
                  <a:lnTo>
                    <a:pt x="111836" y="30362"/>
                  </a:lnTo>
                  <a:cubicBezTo>
                    <a:pt x="111836" y="31061"/>
                    <a:pt x="111329" y="31696"/>
                    <a:pt x="110693" y="31887"/>
                  </a:cubicBezTo>
                  <a:lnTo>
                    <a:pt x="108090" y="32649"/>
                  </a:lnTo>
                  <a:cubicBezTo>
                    <a:pt x="107199" y="32967"/>
                    <a:pt x="106756" y="33856"/>
                    <a:pt x="107072" y="34745"/>
                  </a:cubicBezTo>
                  <a:cubicBezTo>
                    <a:pt x="107136" y="34936"/>
                    <a:pt x="107199" y="35126"/>
                    <a:pt x="107327" y="35253"/>
                  </a:cubicBezTo>
                  <a:cubicBezTo>
                    <a:pt x="112536" y="41923"/>
                    <a:pt x="115076" y="50244"/>
                    <a:pt x="114569" y="58629"/>
                  </a:cubicBezTo>
                  <a:cubicBezTo>
                    <a:pt x="114569" y="80416"/>
                    <a:pt x="101483" y="99853"/>
                    <a:pt x="77345" y="99853"/>
                  </a:cubicBezTo>
                  <a:cubicBezTo>
                    <a:pt x="55177" y="99663"/>
                    <a:pt x="40249" y="82766"/>
                    <a:pt x="40249" y="56533"/>
                  </a:cubicBezTo>
                  <a:close/>
                  <a:moveTo>
                    <a:pt x="87255" y="49291"/>
                  </a:moveTo>
                  <a:cubicBezTo>
                    <a:pt x="87255" y="40843"/>
                    <a:pt x="83189" y="34491"/>
                    <a:pt x="75821" y="34491"/>
                  </a:cubicBezTo>
                  <a:cubicBezTo>
                    <a:pt x="68453" y="34491"/>
                    <a:pt x="63942" y="40843"/>
                    <a:pt x="63942" y="49545"/>
                  </a:cubicBezTo>
                  <a:cubicBezTo>
                    <a:pt x="63942" y="58248"/>
                    <a:pt x="68644" y="64346"/>
                    <a:pt x="75821" y="64346"/>
                  </a:cubicBezTo>
                  <a:cubicBezTo>
                    <a:pt x="82998" y="64346"/>
                    <a:pt x="87255" y="57549"/>
                    <a:pt x="87255" y="492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27"/>
            <p:cNvSpPr/>
            <p:nvPr/>
          </p:nvSpPr>
          <p:spPr>
            <a:xfrm>
              <a:off x="154658" y="6314758"/>
              <a:ext cx="111159" cy="35380"/>
            </a:xfrm>
            <a:custGeom>
              <a:avLst/>
              <a:gdLst/>
              <a:ahLst/>
              <a:cxnLst/>
              <a:rect l="l" t="t" r="r" b="b"/>
              <a:pathLst>
                <a:path w="111159" h="35380" extrusionOk="0">
                  <a:moveTo>
                    <a:pt x="109103" y="1588"/>
                  </a:moveTo>
                  <a:lnTo>
                    <a:pt x="109103" y="33793"/>
                  </a:lnTo>
                  <a:cubicBezTo>
                    <a:pt x="109103" y="34669"/>
                    <a:pt x="108405" y="35381"/>
                    <a:pt x="107515" y="35381"/>
                  </a:cubicBezTo>
                  <a:lnTo>
                    <a:pt x="-469" y="35381"/>
                  </a:lnTo>
                  <a:cubicBezTo>
                    <a:pt x="-1358" y="35381"/>
                    <a:pt x="-2057" y="34669"/>
                    <a:pt x="-2057" y="33793"/>
                  </a:cubicBezTo>
                  <a:lnTo>
                    <a:pt x="-2057" y="1588"/>
                  </a:lnTo>
                  <a:cubicBezTo>
                    <a:pt x="-2057" y="711"/>
                    <a:pt x="-1358" y="0"/>
                    <a:pt x="-469" y="0"/>
                  </a:cubicBezTo>
                  <a:lnTo>
                    <a:pt x="107515" y="0"/>
                  </a:lnTo>
                  <a:cubicBezTo>
                    <a:pt x="108405" y="0"/>
                    <a:pt x="109103" y="711"/>
                    <a:pt x="109103" y="15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27"/>
            <p:cNvSpPr/>
            <p:nvPr/>
          </p:nvSpPr>
          <p:spPr>
            <a:xfrm>
              <a:off x="112545" y="6187909"/>
              <a:ext cx="156008" cy="117448"/>
            </a:xfrm>
            <a:custGeom>
              <a:avLst/>
              <a:gdLst/>
              <a:ahLst/>
              <a:cxnLst/>
              <a:rect l="l" t="t" r="r" b="b"/>
              <a:pathLst>
                <a:path w="156008" h="117448" extrusionOk="0">
                  <a:moveTo>
                    <a:pt x="146199" y="33030"/>
                  </a:moveTo>
                  <a:cubicBezTo>
                    <a:pt x="145309" y="33030"/>
                    <a:pt x="144611" y="33741"/>
                    <a:pt x="144611" y="34618"/>
                  </a:cubicBezTo>
                  <a:cubicBezTo>
                    <a:pt x="144611" y="34961"/>
                    <a:pt x="144738" y="35298"/>
                    <a:pt x="144927" y="35571"/>
                  </a:cubicBezTo>
                  <a:cubicBezTo>
                    <a:pt x="150899" y="43479"/>
                    <a:pt x="154075" y="53159"/>
                    <a:pt x="153948" y="63075"/>
                  </a:cubicBezTo>
                  <a:cubicBezTo>
                    <a:pt x="153948" y="94835"/>
                    <a:pt x="129810" y="117448"/>
                    <a:pt x="95763" y="117448"/>
                  </a:cubicBezTo>
                  <a:cubicBezTo>
                    <a:pt x="61717" y="117448"/>
                    <a:pt x="37325" y="97122"/>
                    <a:pt x="37325" y="64981"/>
                  </a:cubicBezTo>
                  <a:cubicBezTo>
                    <a:pt x="37134" y="55230"/>
                    <a:pt x="40247" y="45703"/>
                    <a:pt x="46155" y="37921"/>
                  </a:cubicBezTo>
                  <a:cubicBezTo>
                    <a:pt x="46726" y="37248"/>
                    <a:pt x="46599" y="36244"/>
                    <a:pt x="45964" y="35685"/>
                  </a:cubicBezTo>
                  <a:cubicBezTo>
                    <a:pt x="45647" y="35450"/>
                    <a:pt x="45329" y="35317"/>
                    <a:pt x="44947" y="35317"/>
                  </a:cubicBezTo>
                  <a:lnTo>
                    <a:pt x="-469" y="35317"/>
                  </a:lnTo>
                  <a:cubicBezTo>
                    <a:pt x="-1358" y="35317"/>
                    <a:pt x="-2057" y="34606"/>
                    <a:pt x="-2057" y="33729"/>
                  </a:cubicBezTo>
                  <a:lnTo>
                    <a:pt x="-2057" y="1588"/>
                  </a:lnTo>
                  <a:cubicBezTo>
                    <a:pt x="-2057" y="711"/>
                    <a:pt x="-1358" y="0"/>
                    <a:pt x="-469" y="0"/>
                  </a:cubicBezTo>
                  <a:lnTo>
                    <a:pt x="149375" y="0"/>
                  </a:lnTo>
                  <a:cubicBezTo>
                    <a:pt x="150263" y="0"/>
                    <a:pt x="150963" y="711"/>
                    <a:pt x="150963" y="1588"/>
                  </a:cubicBezTo>
                  <a:lnTo>
                    <a:pt x="150963" y="31442"/>
                  </a:lnTo>
                  <a:cubicBezTo>
                    <a:pt x="150963" y="32319"/>
                    <a:pt x="150263" y="33030"/>
                    <a:pt x="149375" y="33030"/>
                  </a:cubicBezTo>
                  <a:close/>
                  <a:moveTo>
                    <a:pt x="68451" y="58438"/>
                  </a:moveTo>
                  <a:cubicBezTo>
                    <a:pt x="68451" y="72857"/>
                    <a:pt x="79694" y="82385"/>
                    <a:pt x="95954" y="82385"/>
                  </a:cubicBezTo>
                  <a:cubicBezTo>
                    <a:pt x="112215" y="82385"/>
                    <a:pt x="123077" y="72603"/>
                    <a:pt x="123077" y="58438"/>
                  </a:cubicBezTo>
                  <a:cubicBezTo>
                    <a:pt x="123077" y="43193"/>
                    <a:pt x="110818" y="34555"/>
                    <a:pt x="95954" y="34555"/>
                  </a:cubicBezTo>
                  <a:cubicBezTo>
                    <a:pt x="78422" y="34300"/>
                    <a:pt x="68451" y="44210"/>
                    <a:pt x="68451" y="581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27"/>
            <p:cNvSpPr/>
            <p:nvPr/>
          </p:nvSpPr>
          <p:spPr>
            <a:xfrm>
              <a:off x="152181" y="6056232"/>
              <a:ext cx="116686" cy="121325"/>
            </a:xfrm>
            <a:custGeom>
              <a:avLst/>
              <a:gdLst/>
              <a:ahLst/>
              <a:cxnLst/>
              <a:rect l="l" t="t" r="r" b="b"/>
              <a:pathLst>
                <a:path w="116686" h="121325" extrusionOk="0">
                  <a:moveTo>
                    <a:pt x="-1993" y="60979"/>
                  </a:moveTo>
                  <a:cubicBezTo>
                    <a:pt x="-1993" y="25218"/>
                    <a:pt x="22590" y="0"/>
                    <a:pt x="56254" y="0"/>
                  </a:cubicBezTo>
                  <a:cubicBezTo>
                    <a:pt x="89920" y="0"/>
                    <a:pt x="114630" y="25853"/>
                    <a:pt x="114630" y="60979"/>
                  </a:cubicBezTo>
                  <a:cubicBezTo>
                    <a:pt x="114630" y="96105"/>
                    <a:pt x="90110" y="121323"/>
                    <a:pt x="56635" y="121323"/>
                  </a:cubicBezTo>
                  <a:cubicBezTo>
                    <a:pt x="24557" y="121628"/>
                    <a:pt x="-1739" y="95852"/>
                    <a:pt x="-2057" y="63755"/>
                  </a:cubicBezTo>
                  <a:cubicBezTo>
                    <a:pt x="-2057" y="62827"/>
                    <a:pt x="-2057" y="61907"/>
                    <a:pt x="-1993" y="60979"/>
                  </a:cubicBezTo>
                  <a:close/>
                  <a:moveTo>
                    <a:pt x="83504" y="60979"/>
                  </a:moveTo>
                  <a:cubicBezTo>
                    <a:pt x="82488" y="45963"/>
                    <a:pt x="69466" y="34625"/>
                    <a:pt x="54475" y="35654"/>
                  </a:cubicBezTo>
                  <a:cubicBezTo>
                    <a:pt x="40883" y="36581"/>
                    <a:pt x="30084" y="47392"/>
                    <a:pt x="29131" y="60979"/>
                  </a:cubicBezTo>
                  <a:cubicBezTo>
                    <a:pt x="29131" y="75589"/>
                    <a:pt x="40374" y="85942"/>
                    <a:pt x="56635" y="85942"/>
                  </a:cubicBezTo>
                  <a:cubicBezTo>
                    <a:pt x="70291" y="86889"/>
                    <a:pt x="82170" y="76567"/>
                    <a:pt x="83123" y="62879"/>
                  </a:cubicBezTo>
                  <a:cubicBezTo>
                    <a:pt x="83186" y="62250"/>
                    <a:pt x="83186" y="61614"/>
                    <a:pt x="83186" y="609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8;p27"/>
            <p:cNvSpPr/>
            <p:nvPr/>
          </p:nvSpPr>
          <p:spPr>
            <a:xfrm>
              <a:off x="152181" y="5954541"/>
              <a:ext cx="116374" cy="92568"/>
            </a:xfrm>
            <a:custGeom>
              <a:avLst/>
              <a:gdLst/>
              <a:ahLst/>
              <a:cxnLst/>
              <a:rect l="l" t="t" r="r" b="b"/>
              <a:pathLst>
                <a:path w="116374" h="92568" extrusionOk="0">
                  <a:moveTo>
                    <a:pt x="97226" y="42300"/>
                  </a:moveTo>
                  <a:cubicBezTo>
                    <a:pt x="92715" y="42306"/>
                    <a:pt x="88333" y="41030"/>
                    <a:pt x="84522" y="38616"/>
                  </a:cubicBezTo>
                  <a:cubicBezTo>
                    <a:pt x="83759" y="38146"/>
                    <a:pt x="82744" y="38400"/>
                    <a:pt x="82235" y="39181"/>
                  </a:cubicBezTo>
                  <a:cubicBezTo>
                    <a:pt x="82171" y="39283"/>
                    <a:pt x="82171" y="39391"/>
                    <a:pt x="82108" y="39505"/>
                  </a:cubicBezTo>
                  <a:cubicBezTo>
                    <a:pt x="78677" y="50780"/>
                    <a:pt x="67943" y="58225"/>
                    <a:pt x="56191" y="57481"/>
                  </a:cubicBezTo>
                  <a:cubicBezTo>
                    <a:pt x="42535" y="58447"/>
                    <a:pt x="30720" y="48169"/>
                    <a:pt x="29704" y="34519"/>
                  </a:cubicBezTo>
                  <a:cubicBezTo>
                    <a:pt x="29640" y="33496"/>
                    <a:pt x="29640" y="32467"/>
                    <a:pt x="29704" y="31438"/>
                  </a:cubicBezTo>
                  <a:cubicBezTo>
                    <a:pt x="29767" y="24057"/>
                    <a:pt x="32180" y="16886"/>
                    <a:pt x="36628" y="10985"/>
                  </a:cubicBezTo>
                  <a:cubicBezTo>
                    <a:pt x="37135" y="10261"/>
                    <a:pt x="36944" y="9276"/>
                    <a:pt x="36247" y="8774"/>
                  </a:cubicBezTo>
                  <a:cubicBezTo>
                    <a:pt x="36119" y="8685"/>
                    <a:pt x="35929" y="8616"/>
                    <a:pt x="35802" y="8571"/>
                  </a:cubicBezTo>
                  <a:lnTo>
                    <a:pt x="9251" y="59"/>
                  </a:lnTo>
                  <a:cubicBezTo>
                    <a:pt x="8615" y="-125"/>
                    <a:pt x="7853" y="129"/>
                    <a:pt x="7472" y="695"/>
                  </a:cubicBezTo>
                  <a:cubicBezTo>
                    <a:pt x="1184" y="10083"/>
                    <a:pt x="-2120" y="21148"/>
                    <a:pt x="-2056" y="32455"/>
                  </a:cubicBezTo>
                  <a:cubicBezTo>
                    <a:pt x="-2056" y="66755"/>
                    <a:pt x="22336" y="92544"/>
                    <a:pt x="56382" y="92544"/>
                  </a:cubicBezTo>
                  <a:cubicBezTo>
                    <a:pt x="87190" y="93440"/>
                    <a:pt x="112979" y="69448"/>
                    <a:pt x="114313" y="38679"/>
                  </a:cubicBezTo>
                  <a:cubicBezTo>
                    <a:pt x="114376" y="37803"/>
                    <a:pt x="113740" y="37041"/>
                    <a:pt x="112852" y="36964"/>
                  </a:cubicBezTo>
                  <a:cubicBezTo>
                    <a:pt x="112470" y="36932"/>
                    <a:pt x="112089" y="37047"/>
                    <a:pt x="111771" y="37282"/>
                  </a:cubicBezTo>
                  <a:cubicBezTo>
                    <a:pt x="107643" y="40560"/>
                    <a:pt x="102497" y="42332"/>
                    <a:pt x="97226" y="423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9;p27"/>
            <p:cNvSpPr/>
            <p:nvPr/>
          </p:nvSpPr>
          <p:spPr>
            <a:xfrm>
              <a:off x="235964" y="5957205"/>
              <a:ext cx="30489" cy="30489"/>
            </a:xfrm>
            <a:custGeom>
              <a:avLst/>
              <a:gdLst/>
              <a:ahLst/>
              <a:cxnLst/>
              <a:rect l="l" t="t" r="r" b="b"/>
              <a:pathLst>
                <a:path w="30489" h="30489" extrusionOk="0">
                  <a:moveTo>
                    <a:pt x="30490" y="15245"/>
                  </a:moveTo>
                  <a:cubicBezTo>
                    <a:pt x="30490" y="23664"/>
                    <a:pt x="23664" y="30490"/>
                    <a:pt x="15245" y="30490"/>
                  </a:cubicBezTo>
                  <a:cubicBezTo>
                    <a:pt x="6825" y="30490"/>
                    <a:pt x="0" y="23664"/>
                    <a:pt x="0" y="15245"/>
                  </a:cubicBezTo>
                  <a:cubicBezTo>
                    <a:pt x="0" y="6825"/>
                    <a:pt x="6825" y="0"/>
                    <a:pt x="15245" y="0"/>
                  </a:cubicBezTo>
                  <a:cubicBezTo>
                    <a:pt x="23664" y="0"/>
                    <a:pt x="30490" y="6825"/>
                    <a:pt x="30490" y="15245"/>
                  </a:cubicBezTo>
                  <a:close/>
                </a:path>
              </a:pathLst>
            </a:custGeom>
            <a:solidFill>
              <a:srgbClr val="FD5C1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34709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F3812DE-CC27-4BA6-95AF-80AAE9E6F9A7}"/>
              </a:ext>
            </a:extLst>
          </p:cNvPr>
          <p:cNvSpPr/>
          <p:nvPr userDrawn="1"/>
        </p:nvSpPr>
        <p:spPr>
          <a:xfrm>
            <a:off x="3045223" y="0"/>
            <a:ext cx="3060704" cy="51435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21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C7E964D-ADF4-4108-9A58-B5E306EDA83A}"/>
              </a:ext>
            </a:extLst>
          </p:cNvPr>
          <p:cNvSpPr txBox="1">
            <a:spLocks/>
          </p:cNvSpPr>
          <p:nvPr userDrawn="1"/>
        </p:nvSpPr>
        <p:spPr>
          <a:xfrm>
            <a:off x="6373886" y="1746649"/>
            <a:ext cx="2073419" cy="558403"/>
          </a:xfrm>
          <a:prstGeom prst="rect">
            <a:avLst/>
          </a:prstGeom>
        </p:spPr>
        <p:txBody>
          <a:bodyPr lIns="0" tIns="34293" rIns="0" bIns="0" anchor="b"/>
          <a:lstStyle>
            <a:lvl1pPr algn="l" defTabSz="9144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2400"/>
              <a:t>CLICK TO EDIT TITLE STYL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3060704" cy="5143500"/>
          </a:xfrm>
          <a:ln>
            <a:noFill/>
          </a:ln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>
          <a:xfrm>
            <a:off x="6373888" y="402431"/>
            <a:ext cx="2040071" cy="397275"/>
          </a:xfrm>
        </p:spPr>
        <p:txBody>
          <a:bodyPr bIns="0" anchor="b"/>
          <a:lstStyle>
            <a:lvl1pPr marL="0" indent="0" algn="l">
              <a:buFont typeface="Arial" panose="020B0604020202020204" pitchFamily="34" charset="0"/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1"/>
          </p:nvPr>
        </p:nvSpPr>
        <p:spPr>
          <a:xfrm>
            <a:off x="6373888" y="1517000"/>
            <a:ext cx="2040071" cy="397275"/>
          </a:xfrm>
        </p:spPr>
        <p:txBody>
          <a:bodyPr bIns="0" anchor="b"/>
          <a:lstStyle>
            <a:lvl1pPr marL="0" indent="0" algn="l">
              <a:buFont typeface="Arial" panose="020B0604020202020204" pitchFamily="34" charset="0"/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24"/>
          </p:nvPr>
        </p:nvSpPr>
        <p:spPr>
          <a:xfrm>
            <a:off x="6373888" y="2637347"/>
            <a:ext cx="2040071" cy="397275"/>
          </a:xfrm>
        </p:spPr>
        <p:txBody>
          <a:bodyPr bIns="0" anchor="b"/>
          <a:lstStyle>
            <a:lvl1pPr marL="0" indent="0" algn="l">
              <a:buFont typeface="Arial" panose="020B0604020202020204" pitchFamily="34" charset="0"/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6"/>
          </p:nvPr>
        </p:nvSpPr>
        <p:spPr>
          <a:xfrm>
            <a:off x="6373888" y="3757859"/>
            <a:ext cx="2040071" cy="397275"/>
          </a:xfrm>
        </p:spPr>
        <p:txBody>
          <a:bodyPr bIns="0" anchor="b"/>
          <a:lstStyle>
            <a:lvl1pPr marL="0" indent="0" algn="l">
              <a:buFont typeface="Arial" panose="020B0604020202020204" pitchFamily="34" charset="0"/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34" name="Text Placeholder 20"/>
          <p:cNvSpPr>
            <a:spLocks noGrp="1"/>
          </p:cNvSpPr>
          <p:nvPr>
            <p:ph type="body" sz="quarter" idx="28"/>
          </p:nvPr>
        </p:nvSpPr>
        <p:spPr>
          <a:xfrm>
            <a:off x="3323520" y="402432"/>
            <a:ext cx="2496962" cy="795338"/>
          </a:xfrm>
        </p:spPr>
        <p:txBody>
          <a:bodyPr bIns="91440" anchor="b"/>
          <a:lstStyle>
            <a:lvl1pPr marL="0" indent="0" algn="l"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4"/>
          <p:cNvSpPr>
            <a:spLocks noGrp="1"/>
          </p:cNvSpPr>
          <p:nvPr>
            <p:ph type="body" sz="quarter" idx="35"/>
          </p:nvPr>
        </p:nvSpPr>
        <p:spPr>
          <a:xfrm>
            <a:off x="6373885" y="802481"/>
            <a:ext cx="2034350" cy="480060"/>
          </a:xfrm>
        </p:spPr>
        <p:txBody>
          <a:bodyPr tIns="45720" bIns="45720"/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37"/>
          </p:nvPr>
        </p:nvSpPr>
        <p:spPr>
          <a:xfrm>
            <a:off x="6373885" y="3036112"/>
            <a:ext cx="2034350" cy="480060"/>
          </a:xfrm>
        </p:spPr>
        <p:txBody>
          <a:bodyPr tIns="45720" bIns="45720"/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38"/>
          </p:nvPr>
        </p:nvSpPr>
        <p:spPr>
          <a:xfrm>
            <a:off x="6373885" y="4156624"/>
            <a:ext cx="2034350" cy="480060"/>
          </a:xfrm>
        </p:spPr>
        <p:txBody>
          <a:bodyPr tIns="45720" bIns="45720"/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/>
          <p:cNvSpPr>
            <a:spLocks noGrp="1"/>
          </p:cNvSpPr>
          <p:nvPr>
            <p:ph type="body" sz="quarter" idx="36"/>
          </p:nvPr>
        </p:nvSpPr>
        <p:spPr>
          <a:xfrm>
            <a:off x="6373885" y="1915768"/>
            <a:ext cx="2034350" cy="480060"/>
          </a:xfrm>
        </p:spPr>
        <p:txBody>
          <a:bodyPr tIns="45720" bIns="45720"/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39"/>
          </p:nvPr>
        </p:nvSpPr>
        <p:spPr>
          <a:xfrm>
            <a:off x="3662531" y="1610139"/>
            <a:ext cx="2157951" cy="3140964"/>
          </a:xfrm>
        </p:spPr>
        <p:txBody>
          <a:bodyPr bIns="45720"/>
          <a:lstStyle>
            <a:lvl1pPr marL="0" indent="0" algn="l">
              <a:lnSpc>
                <a:spcPct val="11400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2E20B17-52BA-4718-9CB9-3326E2AAF184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>
          <a:xfrm>
            <a:off x="3060704" y="4601768"/>
            <a:ext cx="5686716" cy="2738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827780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D53CF50-6401-974F-AE56-5DDC7B1294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fld id="{A908EE82-1B21-104A-B480-3A96668563A2}" type="datetime4">
              <a:rPr lang="en-US" smtClean="0"/>
              <a:pPr algn="r"/>
              <a:t>October 17, 2023</a:t>
            </a:fld>
            <a:r>
              <a:rPr lang="en-US"/>
              <a:t>  |  </a:t>
            </a:r>
            <a:fld id="{4F3A37AC-B794-7842-A435-C030D9BBEDA5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1183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with photo_no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1953" y="2134438"/>
            <a:ext cx="2716523" cy="1047750"/>
          </a:xfrm>
        </p:spPr>
        <p:txBody>
          <a:bodyPr tIns="0" bIns="0" anchor="ctr" anchorCtr="0"/>
          <a:lstStyle>
            <a:lvl1pPr algn="l"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880CE23-2AA5-4E99-B664-CBDBC030E24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43110" y="0"/>
            <a:ext cx="540089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8A08D6-9CDF-48F0-A1BF-C3B36B8E66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1953" y="3671888"/>
            <a:ext cx="2723668" cy="278606"/>
          </a:xfrm>
        </p:spPr>
        <p:txBody>
          <a:bodyPr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50"/>
            </a:lvl1pPr>
            <a:lvl2pPr marL="342900" indent="0">
              <a:buNone/>
              <a:defRPr sz="1350"/>
            </a:lvl2pPr>
            <a:lvl3pPr marL="685800" indent="0">
              <a:buNone/>
              <a:defRPr sz="1350"/>
            </a:lvl3pPr>
            <a:lvl4pPr marL="1028700" indent="0">
              <a:buNone/>
              <a:defRPr sz="1350"/>
            </a:lvl4pPr>
            <a:lvl5pPr marL="1371600" indent="0">
              <a:buNone/>
              <a:defRPr sz="13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1443BC-B0D6-4FCD-ACDE-1359B026F6A0}"/>
              </a:ext>
            </a:extLst>
          </p:cNvPr>
          <p:cNvSpPr txBox="1"/>
          <p:nvPr userDrawn="1"/>
        </p:nvSpPr>
        <p:spPr>
          <a:xfrm>
            <a:off x="741953" y="4964886"/>
            <a:ext cx="3001157" cy="150040"/>
          </a:xfrm>
          <a:prstGeom prst="rect">
            <a:avLst/>
          </a:prstGeom>
        </p:spPr>
        <p:txBody>
          <a:bodyPr vert="horz" lIns="0" tIns="34293" rIns="0" bIns="34293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l"/>
            <a:r>
              <a:rPr lang="en-US" sz="600">
                <a:solidFill>
                  <a:schemeClr val="tx1">
                    <a:lumMod val="50000"/>
                    <a:lumOff val="50000"/>
                  </a:schemeClr>
                </a:solidFill>
              </a:rPr>
              <a:t>©2022 Mayo Foundation for Medical Education and Research  |  slide </a:t>
            </a:r>
            <a:fld id="{32D4CE3D-46EA-43C6-ACB1-26417F520A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r>
              <a:rPr lang="en-US" sz="60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7407543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Bulleted text_3 icon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1953" y="613122"/>
            <a:ext cx="7488600" cy="44053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5BF1F25-4DBB-4DB7-90C3-C0CF44C9C9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1953" y="1607344"/>
            <a:ext cx="3572805" cy="2882264"/>
          </a:xfrm>
          <a:prstGeom prst="rect">
            <a:avLst/>
          </a:prstGeom>
        </p:spPr>
        <p:txBody>
          <a:bodyPr vert="horz" lIns="0" tIns="0" rIns="0" bIns="45724" rtlCol="0">
            <a:no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CD3BC725-26D8-48F2-9E2E-41D0154C89DA}"/>
              </a:ext>
            </a:extLst>
          </p:cNvPr>
          <p:cNvSpPr/>
          <p:nvPr userDrawn="1"/>
        </p:nvSpPr>
        <p:spPr>
          <a:xfrm>
            <a:off x="741953" y="1286045"/>
            <a:ext cx="310752" cy="49908"/>
          </a:xfrm>
          <a:prstGeom prst="rect">
            <a:avLst/>
          </a:prstGeom>
          <a:solidFill>
            <a:srgbClr val="0057B8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619125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40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F43E3F5-9637-4C36-AA3D-3706E36587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5606" y="1812056"/>
            <a:ext cx="1714947" cy="477823"/>
          </a:xfrm>
          <a:prstGeom prst="rect">
            <a:avLst/>
          </a:prstGeom>
        </p:spPr>
        <p:txBody>
          <a:bodyPr tIns="91440" bIns="45720">
            <a:noAutofit/>
          </a:bodyPr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 sz="1350"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2A15B5C0-810F-49B1-B50E-E39BBAEAEC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15606" y="1600200"/>
            <a:ext cx="1714947" cy="205740"/>
          </a:xfrm>
          <a:prstGeom prst="rect">
            <a:avLst/>
          </a:prstGeom>
        </p:spPr>
        <p:txBody>
          <a:bodyPr bIns="0" anchor="t" anchorCtr="0"/>
          <a:lstStyle>
            <a:lvl1pPr marL="0" indent="0">
              <a:buNone/>
              <a:defRPr sz="1350" b="1"/>
            </a:lvl1pPr>
            <a:lvl2pPr marL="342900" indent="0">
              <a:buNone/>
              <a:defRPr b="1"/>
            </a:lvl2pPr>
            <a:lvl3pPr marL="685800" indent="0">
              <a:buNone/>
              <a:defRPr b="1"/>
            </a:lvl3pPr>
            <a:lvl4pPr marL="1028700" indent="0">
              <a:buNone/>
              <a:defRPr b="1"/>
            </a:lvl4pPr>
            <a:lvl5pPr marL="1371600" indent="0">
              <a:buNone/>
              <a:defRPr b="1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A942E5-68AC-4A40-95ED-72A7EE7DE4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5606" y="2790750"/>
            <a:ext cx="1714947" cy="477823"/>
          </a:xfrm>
          <a:prstGeom prst="rect">
            <a:avLst/>
          </a:prstGeom>
        </p:spPr>
        <p:txBody>
          <a:bodyPr tIns="91440" bIns="45720">
            <a:noAutofit/>
          </a:bodyPr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 sz="1350"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C612EAB2-81B9-4E21-9FDD-A3A185DA65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15606" y="2578894"/>
            <a:ext cx="1714947" cy="205740"/>
          </a:xfrm>
          <a:prstGeom prst="rect">
            <a:avLst/>
          </a:prstGeom>
        </p:spPr>
        <p:txBody>
          <a:bodyPr bIns="0" anchor="t" anchorCtr="0"/>
          <a:lstStyle>
            <a:lvl1pPr marL="0" indent="0">
              <a:buNone/>
              <a:defRPr sz="1350" b="1"/>
            </a:lvl1pPr>
            <a:lvl2pPr marL="342900" indent="0">
              <a:buNone/>
              <a:defRPr b="1"/>
            </a:lvl2pPr>
            <a:lvl3pPr marL="685800" indent="0">
              <a:buNone/>
              <a:defRPr b="1"/>
            </a:lvl3pPr>
            <a:lvl4pPr marL="1028700" indent="0">
              <a:buNone/>
              <a:defRPr b="1"/>
            </a:lvl4pPr>
            <a:lvl5pPr marL="1371600" indent="0">
              <a:buNone/>
              <a:defRPr b="1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304D0F0-05FA-4DD5-BBA6-20F66C49DA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15606" y="3776588"/>
            <a:ext cx="1714947" cy="477823"/>
          </a:xfrm>
          <a:prstGeom prst="rect">
            <a:avLst/>
          </a:prstGeom>
        </p:spPr>
        <p:txBody>
          <a:bodyPr tIns="91440" bIns="45720">
            <a:noAutofit/>
          </a:bodyPr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 sz="1350"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BA5B7B9-077D-40AA-84E6-8B1A4B613B1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15606" y="3564731"/>
            <a:ext cx="1714947" cy="205740"/>
          </a:xfrm>
          <a:prstGeom prst="rect">
            <a:avLst/>
          </a:prstGeom>
        </p:spPr>
        <p:txBody>
          <a:bodyPr bIns="0" anchor="t" anchorCtr="0"/>
          <a:lstStyle>
            <a:lvl1pPr marL="0" indent="0">
              <a:buNone/>
              <a:defRPr sz="1350" b="1"/>
            </a:lvl1pPr>
            <a:lvl2pPr marL="342900" indent="0">
              <a:buNone/>
              <a:defRPr b="1"/>
            </a:lvl2pPr>
            <a:lvl3pPr marL="685800" indent="0">
              <a:buNone/>
              <a:defRPr b="1"/>
            </a:lvl3pPr>
            <a:lvl4pPr marL="1028700" indent="0">
              <a:buNone/>
              <a:defRPr b="1"/>
            </a:lvl4pPr>
            <a:lvl5pPr marL="1371600" indent="0">
              <a:buNone/>
              <a:defRPr b="1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4" name="Rectangle">
            <a:extLst>
              <a:ext uri="{FF2B5EF4-FFF2-40B4-BE49-F238E27FC236}">
                <a16:creationId xmlns:a16="http://schemas.microsoft.com/office/drawing/2014/main" id="{7A48F40F-4593-44F7-BF04-C896EF2E4A43}"/>
              </a:ext>
            </a:extLst>
          </p:cNvPr>
          <p:cNvSpPr/>
          <p:nvPr userDrawn="1"/>
        </p:nvSpPr>
        <p:spPr>
          <a:xfrm>
            <a:off x="5429475" y="4651872"/>
            <a:ext cx="3714526" cy="491628"/>
          </a:xfrm>
          <a:prstGeom prst="rect">
            <a:avLst/>
          </a:prstGeom>
          <a:solidFill>
            <a:srgbClr val="0057B8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619125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37993427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2 column w_individual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2185" y="613122"/>
            <a:ext cx="7501144" cy="440531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39" y="2475310"/>
            <a:ext cx="3402454" cy="480396"/>
          </a:xfrm>
          <a:prstGeom prst="rect">
            <a:avLst/>
          </a:prstGeom>
        </p:spPr>
        <p:txBody>
          <a:bodyPr tIns="45720">
            <a:spAutoFit/>
          </a:bodyPr>
          <a:lstStyle>
            <a:lvl1pPr marL="0" indent="0">
              <a:spcBef>
                <a:spcPts val="0"/>
              </a:spcBef>
              <a:buNone/>
              <a:defRPr sz="1350"/>
            </a:lvl1pPr>
            <a:lvl2pPr marL="342900" indent="0">
              <a:spcBef>
                <a:spcPts val="150"/>
              </a:spcBef>
              <a:buNone/>
              <a:defRPr sz="1350"/>
            </a:lvl2pPr>
            <a:lvl3pPr marL="685800" indent="0">
              <a:buNone/>
              <a:defRPr sz="1350"/>
            </a:lvl3pPr>
            <a:lvl4pPr marL="1028700" indent="0">
              <a:buNone/>
              <a:defRPr sz="1350"/>
            </a:lvl4pPr>
            <a:lvl5pPr marL="1371600" indent="0">
              <a:buNone/>
              <a:defRPr sz="1350"/>
            </a:lvl5pPr>
            <a:lvl6pPr>
              <a:defRPr sz="1425"/>
            </a:lvl6pPr>
            <a:lvl7pPr>
              <a:defRPr sz="1425"/>
            </a:lvl7pPr>
            <a:lvl8pPr>
              <a:defRPr sz="1425"/>
            </a:lvl8pPr>
            <a:lvl9pPr>
              <a:defRPr sz="14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2"/>
          </p:nvPr>
        </p:nvSpPr>
        <p:spPr>
          <a:xfrm>
            <a:off x="735039" y="2252663"/>
            <a:ext cx="3402454" cy="221456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350" b="1">
                <a:solidFill>
                  <a:schemeClr val="tx1"/>
                </a:solidFill>
              </a:defRPr>
            </a:lvl1pPr>
            <a:lvl2pPr marL="342931" indent="0">
              <a:buNone/>
              <a:defRPr sz="1500" b="1"/>
            </a:lvl2pPr>
            <a:lvl3pPr marL="685863" indent="0">
              <a:buNone/>
              <a:defRPr sz="1425" b="1"/>
            </a:lvl3pPr>
            <a:lvl4pPr marL="1028794" indent="0">
              <a:buNone/>
              <a:defRPr sz="1200" b="1"/>
            </a:lvl4pPr>
            <a:lvl5pPr marL="1371726" indent="0">
              <a:buNone/>
              <a:defRPr sz="1200" b="1"/>
            </a:lvl5pPr>
            <a:lvl6pPr marL="1714657" indent="0">
              <a:buNone/>
              <a:defRPr sz="1200" b="1"/>
            </a:lvl6pPr>
            <a:lvl7pPr marL="2057589" indent="0">
              <a:buNone/>
              <a:defRPr sz="1200" b="1"/>
            </a:lvl7pPr>
            <a:lvl8pPr marL="2400520" indent="0">
              <a:buNone/>
              <a:defRPr sz="1200" b="1"/>
            </a:lvl8pPr>
            <a:lvl9pPr marL="274345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735039" y="1607344"/>
            <a:ext cx="7496936" cy="408577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>
              <a:spcBef>
                <a:spcPts val="0"/>
              </a:spcBef>
              <a:buNone/>
              <a:defRPr sz="1350"/>
            </a:lvl1pPr>
            <a:lvl2pPr marL="342900" indent="0">
              <a:spcBef>
                <a:spcPts val="150"/>
              </a:spcBef>
              <a:buNone/>
              <a:defRPr sz="1350"/>
            </a:lvl2pPr>
            <a:lvl3pPr marL="685800" indent="0">
              <a:buNone/>
              <a:defRPr sz="1350"/>
            </a:lvl3pPr>
            <a:lvl4pPr marL="1028700" indent="0">
              <a:buNone/>
              <a:defRPr sz="1350"/>
            </a:lvl4pPr>
            <a:lvl5pPr marL="1371600" indent="0">
              <a:buNone/>
              <a:defRPr sz="1350"/>
            </a:lvl5pPr>
            <a:lvl6pPr>
              <a:defRPr sz="1425"/>
            </a:lvl6pPr>
            <a:lvl7pPr>
              <a:defRPr sz="1425"/>
            </a:lvl7pPr>
            <a:lvl8pPr>
              <a:defRPr sz="1425"/>
            </a:lvl8pPr>
            <a:lvl9pPr>
              <a:defRPr sz="14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33" name="Content Placeholder 2"/>
          <p:cNvSpPr>
            <a:spLocks noGrp="1"/>
          </p:cNvSpPr>
          <p:nvPr>
            <p:ph sz="half" idx="24"/>
          </p:nvPr>
        </p:nvSpPr>
        <p:spPr>
          <a:xfrm>
            <a:off x="735039" y="3378184"/>
            <a:ext cx="3402454" cy="491934"/>
          </a:xfrm>
          <a:prstGeom prst="rect">
            <a:avLst/>
          </a:prstGeom>
        </p:spPr>
        <p:txBody>
          <a:bodyPr vert="horz" lIns="0" tIns="45720" rIns="0" bIns="45724" rtlCol="0">
            <a:sp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  <a:p>
            <a:pPr marL="342900" lvl="1" indent="0">
              <a:spcBef>
                <a:spcPts val="150"/>
              </a:spcBef>
              <a:buNone/>
            </a:pPr>
            <a:r>
              <a:rPr lang="en-US"/>
              <a:t>Second level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5"/>
          </p:nvPr>
        </p:nvSpPr>
        <p:spPr>
          <a:xfrm>
            <a:off x="735039" y="3153084"/>
            <a:ext cx="3402454" cy="221456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350" b="1">
                <a:solidFill>
                  <a:schemeClr val="tx1"/>
                </a:solidFill>
              </a:defRPr>
            </a:lvl1pPr>
            <a:lvl2pPr marL="342931" indent="0">
              <a:buNone/>
              <a:defRPr sz="1500" b="1"/>
            </a:lvl2pPr>
            <a:lvl3pPr marL="685863" indent="0">
              <a:buNone/>
              <a:defRPr sz="1425" b="1"/>
            </a:lvl3pPr>
            <a:lvl4pPr marL="1028794" indent="0">
              <a:buNone/>
              <a:defRPr sz="1200" b="1"/>
            </a:lvl4pPr>
            <a:lvl5pPr marL="1371726" indent="0">
              <a:buNone/>
              <a:defRPr sz="1200" b="1"/>
            </a:lvl5pPr>
            <a:lvl6pPr marL="1714657" indent="0">
              <a:buNone/>
              <a:defRPr sz="1200" b="1"/>
            </a:lvl6pPr>
            <a:lvl7pPr marL="2057589" indent="0">
              <a:buNone/>
              <a:defRPr sz="1200" b="1"/>
            </a:lvl7pPr>
            <a:lvl8pPr marL="2400520" indent="0">
              <a:buNone/>
              <a:defRPr sz="1200" b="1"/>
            </a:lvl8pPr>
            <a:lvl9pPr marL="274345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26"/>
          </p:nvPr>
        </p:nvSpPr>
        <p:spPr>
          <a:xfrm>
            <a:off x="735039" y="4280893"/>
            <a:ext cx="3402454" cy="491934"/>
          </a:xfrm>
          <a:prstGeom prst="rect">
            <a:avLst/>
          </a:prstGeom>
        </p:spPr>
        <p:txBody>
          <a:bodyPr vert="horz" lIns="0" tIns="45720" rIns="0" bIns="45724" rtlCol="0">
            <a:spAutoFit/>
          </a:bodyPr>
          <a:lstStyle>
            <a:lvl1pPr>
              <a:defRPr lang="en-US" sz="1350"/>
            </a:lvl1pPr>
            <a:lvl2pPr>
              <a:defRPr lang="en-US" sz="1350"/>
            </a:lvl2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  <a:p>
            <a:pPr marL="342900" lvl="1" indent="0">
              <a:spcBef>
                <a:spcPts val="150"/>
              </a:spcBef>
              <a:buNone/>
            </a:pPr>
            <a:r>
              <a:rPr lang="en-US"/>
              <a:t>Second level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27"/>
          </p:nvPr>
        </p:nvSpPr>
        <p:spPr>
          <a:xfrm>
            <a:off x="735039" y="4056461"/>
            <a:ext cx="3402454" cy="221456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350" b="1">
                <a:solidFill>
                  <a:schemeClr val="tx1"/>
                </a:solidFill>
              </a:defRPr>
            </a:lvl1pPr>
            <a:lvl2pPr marL="342931" indent="0">
              <a:buNone/>
              <a:defRPr sz="1500" b="1"/>
            </a:lvl2pPr>
            <a:lvl3pPr marL="685863" indent="0">
              <a:buNone/>
              <a:defRPr sz="1425" b="1"/>
            </a:lvl3pPr>
            <a:lvl4pPr marL="1028794" indent="0">
              <a:buNone/>
              <a:defRPr sz="1200" b="1"/>
            </a:lvl4pPr>
            <a:lvl5pPr marL="1371726" indent="0">
              <a:buNone/>
              <a:defRPr sz="1200" b="1"/>
            </a:lvl5pPr>
            <a:lvl6pPr marL="1714657" indent="0">
              <a:buNone/>
              <a:defRPr sz="1200" b="1"/>
            </a:lvl6pPr>
            <a:lvl7pPr marL="2057589" indent="0">
              <a:buNone/>
              <a:defRPr sz="1200" b="1"/>
            </a:lvl7pPr>
            <a:lvl8pPr marL="2400520" indent="0">
              <a:buNone/>
              <a:defRPr sz="1200" b="1"/>
            </a:lvl8pPr>
            <a:lvl9pPr marL="274345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">
            <a:extLst>
              <a:ext uri="{FF2B5EF4-FFF2-40B4-BE49-F238E27FC236}">
                <a16:creationId xmlns:a16="http://schemas.microsoft.com/office/drawing/2014/main" id="{03AA29F7-7EE5-4F02-B3EE-CCF1AC049DFF}"/>
              </a:ext>
            </a:extLst>
          </p:cNvPr>
          <p:cNvSpPr/>
          <p:nvPr userDrawn="1"/>
        </p:nvSpPr>
        <p:spPr>
          <a:xfrm>
            <a:off x="741953" y="1286045"/>
            <a:ext cx="310752" cy="49908"/>
          </a:xfrm>
          <a:prstGeom prst="rect">
            <a:avLst/>
          </a:prstGeom>
          <a:solidFill>
            <a:srgbClr val="0057B8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defTabSz="619125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40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E8E76D72-2C2E-40D0-8509-5385DDBBED5A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4841384" y="2475310"/>
            <a:ext cx="3402454" cy="480396"/>
          </a:xfrm>
          <a:prstGeom prst="rect">
            <a:avLst/>
          </a:prstGeom>
        </p:spPr>
        <p:txBody>
          <a:bodyPr tIns="45720">
            <a:spAutoFit/>
          </a:bodyPr>
          <a:lstStyle>
            <a:lvl1pPr marL="0" indent="0">
              <a:spcBef>
                <a:spcPts val="0"/>
              </a:spcBef>
              <a:buNone/>
              <a:defRPr sz="1350"/>
            </a:lvl1pPr>
            <a:lvl2pPr marL="342900" indent="0">
              <a:spcBef>
                <a:spcPts val="150"/>
              </a:spcBef>
              <a:buNone/>
              <a:defRPr sz="1350"/>
            </a:lvl2pPr>
            <a:lvl3pPr marL="685800" indent="0">
              <a:buNone/>
              <a:defRPr sz="1350"/>
            </a:lvl3pPr>
            <a:lvl4pPr marL="1028700" indent="0">
              <a:buNone/>
              <a:defRPr sz="1350"/>
            </a:lvl4pPr>
            <a:lvl5pPr marL="1371600" indent="0">
              <a:buNone/>
              <a:defRPr sz="1350"/>
            </a:lvl5pPr>
            <a:lvl6pPr>
              <a:defRPr sz="1425"/>
            </a:lvl6pPr>
            <a:lvl7pPr>
              <a:defRPr sz="1425"/>
            </a:lvl7pPr>
            <a:lvl8pPr>
              <a:defRPr sz="1425"/>
            </a:lvl8pPr>
            <a:lvl9pPr>
              <a:defRPr sz="14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0615C671-DD4C-431C-AE6E-1FC1ED1E3365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4841384" y="2252663"/>
            <a:ext cx="3402454" cy="221456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350" b="1">
                <a:solidFill>
                  <a:schemeClr val="tx1"/>
                </a:solidFill>
              </a:defRPr>
            </a:lvl1pPr>
            <a:lvl2pPr marL="342931" indent="0">
              <a:buNone/>
              <a:defRPr sz="1500" b="1"/>
            </a:lvl2pPr>
            <a:lvl3pPr marL="685863" indent="0">
              <a:buNone/>
              <a:defRPr sz="1425" b="1"/>
            </a:lvl3pPr>
            <a:lvl4pPr marL="1028794" indent="0">
              <a:buNone/>
              <a:defRPr sz="1200" b="1"/>
            </a:lvl4pPr>
            <a:lvl5pPr marL="1371726" indent="0">
              <a:buNone/>
              <a:defRPr sz="1200" b="1"/>
            </a:lvl5pPr>
            <a:lvl6pPr marL="1714657" indent="0">
              <a:buNone/>
              <a:defRPr sz="1200" b="1"/>
            </a:lvl6pPr>
            <a:lvl7pPr marL="2057589" indent="0">
              <a:buNone/>
              <a:defRPr sz="1200" b="1"/>
            </a:lvl7pPr>
            <a:lvl8pPr marL="2400520" indent="0">
              <a:buNone/>
              <a:defRPr sz="1200" b="1"/>
            </a:lvl8pPr>
            <a:lvl9pPr marL="274345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15A8F449-F10E-4655-9873-E2B1C536DFF8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4841384" y="3378184"/>
            <a:ext cx="3402454" cy="491934"/>
          </a:xfrm>
          <a:prstGeom prst="rect">
            <a:avLst/>
          </a:prstGeom>
        </p:spPr>
        <p:txBody>
          <a:bodyPr vert="horz" lIns="0" tIns="45720" rIns="0" bIns="45724" rtlCol="0">
            <a:spAutoFit/>
          </a:bodyPr>
          <a:lstStyle>
            <a:lvl1pPr>
              <a:defRPr lang="en-US" sz="1350" dirty="0"/>
            </a:lvl1pPr>
            <a:lvl2pPr>
              <a:defRPr lang="en-US" sz="1350" dirty="0"/>
            </a:lvl2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  <a:p>
            <a:pPr marL="342900" lvl="1" indent="0">
              <a:spcBef>
                <a:spcPts val="150"/>
              </a:spcBef>
              <a:buNone/>
            </a:pPr>
            <a:r>
              <a:rPr lang="en-US"/>
              <a:t>Second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505A0A7-C00C-4C2C-933A-615C11C0C4CE}"/>
              </a:ext>
            </a:extLst>
          </p:cNvPr>
          <p:cNvSpPr>
            <a:spLocks noGrp="1"/>
          </p:cNvSpPr>
          <p:nvPr>
            <p:ph type="body" idx="31"/>
          </p:nvPr>
        </p:nvSpPr>
        <p:spPr>
          <a:xfrm>
            <a:off x="4841384" y="3153084"/>
            <a:ext cx="3402454" cy="221456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350" b="1">
                <a:solidFill>
                  <a:schemeClr val="tx1"/>
                </a:solidFill>
              </a:defRPr>
            </a:lvl1pPr>
            <a:lvl2pPr marL="342931" indent="0">
              <a:buNone/>
              <a:defRPr sz="1500" b="1"/>
            </a:lvl2pPr>
            <a:lvl3pPr marL="685863" indent="0">
              <a:buNone/>
              <a:defRPr sz="1425" b="1"/>
            </a:lvl3pPr>
            <a:lvl4pPr marL="1028794" indent="0">
              <a:buNone/>
              <a:defRPr sz="1200" b="1"/>
            </a:lvl4pPr>
            <a:lvl5pPr marL="1371726" indent="0">
              <a:buNone/>
              <a:defRPr sz="1200" b="1"/>
            </a:lvl5pPr>
            <a:lvl6pPr marL="1714657" indent="0">
              <a:buNone/>
              <a:defRPr sz="1200" b="1"/>
            </a:lvl6pPr>
            <a:lvl7pPr marL="2057589" indent="0">
              <a:buNone/>
              <a:defRPr sz="1200" b="1"/>
            </a:lvl7pPr>
            <a:lvl8pPr marL="2400520" indent="0">
              <a:buNone/>
              <a:defRPr sz="1200" b="1"/>
            </a:lvl8pPr>
            <a:lvl9pPr marL="274345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7889CC99-BAEA-4CA0-A8BF-6C969C592ACD}"/>
              </a:ext>
            </a:extLst>
          </p:cNvPr>
          <p:cNvSpPr>
            <a:spLocks noGrp="1"/>
          </p:cNvSpPr>
          <p:nvPr>
            <p:ph sz="half" idx="32"/>
          </p:nvPr>
        </p:nvSpPr>
        <p:spPr>
          <a:xfrm>
            <a:off x="4841384" y="4280893"/>
            <a:ext cx="3402454" cy="491934"/>
          </a:xfrm>
          <a:prstGeom prst="rect">
            <a:avLst/>
          </a:prstGeom>
        </p:spPr>
        <p:txBody>
          <a:bodyPr vert="horz" lIns="0" tIns="45720" rIns="0" bIns="45724" rtlCol="0">
            <a:spAutoFit/>
          </a:bodyPr>
          <a:lstStyle>
            <a:lvl1pPr>
              <a:defRPr lang="en-US" sz="1350"/>
            </a:lvl1pPr>
            <a:lvl2pPr>
              <a:defRPr lang="en-US" sz="1350"/>
            </a:lvl2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  <a:p>
            <a:pPr marL="342900" lvl="1" indent="0">
              <a:spcBef>
                <a:spcPts val="150"/>
              </a:spcBef>
              <a:buNone/>
            </a:pPr>
            <a:r>
              <a:rPr lang="en-US"/>
              <a:t>Secon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52A0930-968A-4E70-8423-3071E02D6E58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4841384" y="4056461"/>
            <a:ext cx="3402454" cy="221456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350" b="1">
                <a:solidFill>
                  <a:schemeClr val="tx1"/>
                </a:solidFill>
              </a:defRPr>
            </a:lvl1pPr>
            <a:lvl2pPr marL="342931" indent="0">
              <a:buNone/>
              <a:defRPr sz="1500" b="1"/>
            </a:lvl2pPr>
            <a:lvl3pPr marL="685863" indent="0">
              <a:buNone/>
              <a:defRPr sz="1425" b="1"/>
            </a:lvl3pPr>
            <a:lvl4pPr marL="1028794" indent="0">
              <a:buNone/>
              <a:defRPr sz="1200" b="1"/>
            </a:lvl4pPr>
            <a:lvl5pPr marL="1371726" indent="0">
              <a:buNone/>
              <a:defRPr sz="1200" b="1"/>
            </a:lvl5pPr>
            <a:lvl6pPr marL="1714657" indent="0">
              <a:buNone/>
              <a:defRPr sz="1200" b="1"/>
            </a:lvl6pPr>
            <a:lvl7pPr marL="2057589" indent="0">
              <a:buNone/>
              <a:defRPr sz="1200" b="1"/>
            </a:lvl7pPr>
            <a:lvl8pPr marL="2400520" indent="0">
              <a:buNone/>
              <a:defRPr sz="1200" b="1"/>
            </a:lvl8pPr>
            <a:lvl9pPr marL="274345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114143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_60/40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glasses&#10;&#10;Description automatically generated">
            <a:extLst>
              <a:ext uri="{FF2B5EF4-FFF2-40B4-BE49-F238E27FC236}">
                <a16:creationId xmlns:a16="http://schemas.microsoft.com/office/drawing/2014/main" id="{E99CB222-535C-4483-B238-D11FFC71C4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286"/>
          <a:stretch/>
        </p:blipFill>
        <p:spPr>
          <a:xfrm>
            <a:off x="5421140" y="670"/>
            <a:ext cx="3722863" cy="514216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0043" y="2140744"/>
            <a:ext cx="4410843" cy="104775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45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9947" y="3193256"/>
            <a:ext cx="4410843" cy="514350"/>
          </a:xfrm>
        </p:spPr>
        <p:txBody>
          <a:bodyPr lIns="0" tIns="45720" rIns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799" b="0" cap="all" baseline="0">
                <a:solidFill>
                  <a:schemeClr val="accent1"/>
                </a:solidFill>
              </a:defRPr>
            </a:lvl1pPr>
            <a:lvl2pPr marL="342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Freeform 6"/>
          <p:cNvSpPr>
            <a:spLocks noChangeAspect="1" noEditPoints="1"/>
          </p:cNvSpPr>
          <p:nvPr userDrawn="1"/>
        </p:nvSpPr>
        <p:spPr bwMode="auto">
          <a:xfrm>
            <a:off x="406109" y="402431"/>
            <a:ext cx="628773" cy="6858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sp>
        <p:nvSpPr>
          <p:cNvPr id="10" name="Rectangle 9"/>
          <p:cNvSpPr/>
          <p:nvPr userDrawn="1"/>
        </p:nvSpPr>
        <p:spPr>
          <a:xfrm>
            <a:off x="730044" y="5043487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89F0DB-418F-4FD4-99FA-8D51550F70CC}"/>
              </a:ext>
            </a:extLst>
          </p:cNvPr>
          <p:cNvSpPr txBox="1"/>
          <p:nvPr userDrawn="1"/>
        </p:nvSpPr>
        <p:spPr>
          <a:xfrm>
            <a:off x="7317106" y="4887521"/>
            <a:ext cx="1826895" cy="150040"/>
          </a:xfrm>
          <a:prstGeom prst="rect">
            <a:avLst/>
          </a:prstGeom>
        </p:spPr>
        <p:txBody>
          <a:bodyPr vert="horz" lIns="68586" tIns="34293" rIns="68586" bIns="34293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US" sz="525">
                <a:solidFill>
                  <a:schemeClr val="bg1"/>
                </a:solidFill>
              </a:rPr>
              <a:t>Image copyright Shutterstock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CA99ED-4D6A-4642-8B83-AFE7762752E7}"/>
              </a:ext>
            </a:extLst>
          </p:cNvPr>
          <p:cNvSpPr txBox="1"/>
          <p:nvPr userDrawn="1"/>
        </p:nvSpPr>
        <p:spPr>
          <a:xfrm>
            <a:off x="6316721" y="4993465"/>
            <a:ext cx="2827281" cy="150040"/>
          </a:xfrm>
          <a:prstGeom prst="rect">
            <a:avLst/>
          </a:prstGeom>
        </p:spPr>
        <p:txBody>
          <a:bodyPr vert="horz" lIns="68586" tIns="34293" rIns="68586" bIns="34293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r>
              <a:rPr lang="en-US" sz="525">
                <a:solidFill>
                  <a:schemeClr val="bg1"/>
                </a:solidFill>
              </a:rPr>
              <a:t>©2021 Mayo Foundation for Medical Education and Research  |  WF112029-</a:t>
            </a:r>
            <a:fld id="{D445C29B-035B-48ED-941F-A66A11A8A322}" type="slidenum">
              <a:rPr lang="en-US" sz="525" smtClean="0">
                <a:solidFill>
                  <a:schemeClr val="bg1"/>
                </a:solidFill>
              </a:rPr>
              <a:pPr lvl="0"/>
              <a:t>‹#›</a:t>
            </a:fld>
            <a:endParaRPr lang="en-US" sz="525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9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Learning objective black_gray_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313182" y="0"/>
            <a:ext cx="5830818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6115" y="1774627"/>
            <a:ext cx="2299695" cy="1594247"/>
          </a:xfrm>
        </p:spPr>
        <p:txBody>
          <a:bodyPr tIns="0" bIns="0" anchor="ctr" anchorCtr="0"/>
          <a:lstStyle>
            <a:lvl1pPr>
              <a:defRPr sz="24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15" name="Content Placeholder 3"/>
          <p:cNvSpPr>
            <a:spLocks noGrp="1"/>
          </p:cNvSpPr>
          <p:nvPr>
            <p:ph sz="half" idx="13"/>
          </p:nvPr>
        </p:nvSpPr>
        <p:spPr>
          <a:xfrm>
            <a:off x="3744300" y="1197769"/>
            <a:ext cx="5010265" cy="274796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130969" indent="-130969">
              <a:lnSpc>
                <a:spcPct val="125000"/>
              </a:lnSpc>
              <a:buFont typeface="Arial" panose="020B0604020202020204" pitchFamily="34" charset="0"/>
              <a:buChar char="•"/>
              <a:defRPr lang="en-US" sz="1800" dirty="0" smtClean="0">
                <a:solidFill>
                  <a:schemeClr val="tx1"/>
                </a:solidFill>
              </a:defRPr>
            </a:lvl1pPr>
            <a:lvl2pPr marL="342900" indent="0">
              <a:buClr>
                <a:schemeClr val="tx1"/>
              </a:buClr>
              <a:buNone/>
              <a:defRPr lang="en-US" sz="1650" dirty="0" smtClean="0"/>
            </a:lvl2pPr>
            <a:lvl3pPr marL="685800" indent="0">
              <a:buClr>
                <a:schemeClr val="tx1"/>
              </a:buClr>
              <a:buNone/>
              <a:defRPr lang="en-US" sz="1650" dirty="0" smtClean="0"/>
            </a:lvl3pPr>
            <a:lvl4pPr marL="1028700" indent="0">
              <a:buClr>
                <a:schemeClr val="tx1"/>
              </a:buClr>
              <a:buNone/>
              <a:defRPr lang="en-US" sz="1650" dirty="0" smtClean="0"/>
            </a:lvl4pPr>
            <a:lvl5pPr marL="1371600" indent="0">
              <a:buClr>
                <a:schemeClr val="tx1"/>
              </a:buClr>
              <a:buNone/>
              <a:defRPr lang="en-US" sz="1650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38041DE-3EBC-45CC-AE9B-D09EFBE342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895" y="196061"/>
            <a:ext cx="2462828" cy="24621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4E2EA06-80B1-4865-8401-CE28FEA75BD0}"/>
              </a:ext>
            </a:extLst>
          </p:cNvPr>
          <p:cNvSpPr txBox="1"/>
          <p:nvPr/>
        </p:nvSpPr>
        <p:spPr>
          <a:xfrm>
            <a:off x="741953" y="4964886"/>
            <a:ext cx="3001157" cy="150040"/>
          </a:xfrm>
          <a:prstGeom prst="rect">
            <a:avLst/>
          </a:prstGeom>
        </p:spPr>
        <p:txBody>
          <a:bodyPr vert="horz" lIns="0" tIns="34293" rIns="0" bIns="34293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l"/>
            <a:r>
              <a:rPr lang="en-US" sz="600">
                <a:solidFill>
                  <a:schemeClr val="tx1">
                    <a:lumMod val="50000"/>
                    <a:lumOff val="50000"/>
                  </a:schemeClr>
                </a:solidFill>
              </a:rPr>
              <a:t>©2022 Mayo Foundation for Medical Education and Research  |  slide </a:t>
            </a:r>
            <a:fld id="{32D4CE3D-46EA-43C6-ACB1-26417F520A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r>
              <a:rPr lang="en-US" sz="60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9265424"/>
      </p:ext>
    </p:extLst>
  </p:cSld>
  <p:clrMapOvr>
    <a:masterClrMapping/>
  </p:clrMapOvr>
  <p:hf hdr="0" ftr="0" dt="0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Title only_no 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8CECBDF-7608-441D-B813-0625813C3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953" y="613122"/>
            <a:ext cx="7488600" cy="44053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220337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siness Goals Larg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519" y="402432"/>
            <a:ext cx="7682961" cy="440531"/>
          </a:xfrm>
        </p:spPr>
        <p:txBody>
          <a:bodyPr/>
          <a:lstStyle>
            <a:lvl1pPr algn="ctr">
              <a:defRPr b="1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30043" y="4601766"/>
            <a:ext cx="8017376" cy="27432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24"/>
          </p:nvPr>
        </p:nvSpPr>
        <p:spPr>
          <a:xfrm>
            <a:off x="730519" y="842963"/>
            <a:ext cx="7682961" cy="354806"/>
          </a:xfrm>
          <a:noFill/>
        </p:spPr>
        <p:txBody>
          <a:bodyPr lIns="0" tIns="0" rIns="0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350" b="1">
                <a:solidFill>
                  <a:schemeClr val="tx2"/>
                </a:solidFill>
              </a:defRPr>
            </a:lvl1pPr>
            <a:lvl2pPr marL="3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33"/>
          </p:nvPr>
        </p:nvSpPr>
        <p:spPr>
          <a:xfrm>
            <a:off x="782268" y="2040807"/>
            <a:ext cx="1179883" cy="802386"/>
          </a:xfrm>
        </p:spPr>
        <p:txBody>
          <a:bodyPr tIns="45720" bIns="45720" anchor="t" anchorCtr="0"/>
          <a:lstStyle>
            <a:lvl1pPr marL="0" indent="0" algn="ctr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4"/>
          </p:nvPr>
        </p:nvSpPr>
        <p:spPr>
          <a:xfrm>
            <a:off x="2354341" y="2040807"/>
            <a:ext cx="1179883" cy="802386"/>
          </a:xfrm>
        </p:spPr>
        <p:txBody>
          <a:bodyPr tIns="45720" bIns="45720" anchor="t" anchorCtr="0"/>
          <a:lstStyle>
            <a:lvl1pPr marL="0" indent="0" algn="ctr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35"/>
          </p:nvPr>
        </p:nvSpPr>
        <p:spPr>
          <a:xfrm>
            <a:off x="782268" y="3604628"/>
            <a:ext cx="1179883" cy="802386"/>
          </a:xfrm>
        </p:spPr>
        <p:txBody>
          <a:bodyPr tIns="45720" bIns="45720" anchor="t" anchorCtr="0"/>
          <a:lstStyle>
            <a:lvl1pPr marL="0" indent="0" algn="ctr">
              <a:lnSpc>
                <a:spcPct val="100000"/>
              </a:lnSpc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4"/>
          <p:cNvSpPr>
            <a:spLocks noGrp="1"/>
          </p:cNvSpPr>
          <p:nvPr>
            <p:ph type="body" sz="quarter" idx="36"/>
          </p:nvPr>
        </p:nvSpPr>
        <p:spPr>
          <a:xfrm>
            <a:off x="2354341" y="3604628"/>
            <a:ext cx="1179883" cy="802386"/>
          </a:xfrm>
        </p:spPr>
        <p:txBody>
          <a:bodyPr tIns="45720" bIns="45720" anchor="t" anchorCtr="0"/>
          <a:lstStyle>
            <a:lvl1pPr marL="0" indent="0" algn="ctr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37"/>
          </p:nvPr>
        </p:nvSpPr>
        <p:spPr>
          <a:xfrm>
            <a:off x="4572001" y="1488185"/>
            <a:ext cx="3832254" cy="1083564"/>
          </a:xfrm>
        </p:spPr>
        <p:txBody>
          <a:bodyPr tIns="0" bIns="0" anchor="t" anchorCtr="0"/>
          <a:lstStyle>
            <a:lvl1pPr marL="0" indent="0" algn="l">
              <a:lnSpc>
                <a:spcPct val="11400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38"/>
          </p:nvPr>
        </p:nvSpPr>
        <p:spPr>
          <a:xfrm>
            <a:off x="4712375" y="2839593"/>
            <a:ext cx="3701582" cy="1770176"/>
          </a:xfrm>
        </p:spPr>
        <p:txBody>
          <a:bodyPr tIns="0" bIns="0" anchor="t" anchorCtr="0"/>
          <a:lstStyle>
            <a:lvl1pPr marL="0" indent="0" algn="l">
              <a:lnSpc>
                <a:spcPct val="100000"/>
              </a:lnSpc>
              <a:spcBef>
                <a:spcPts val="675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063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0043" y="2140744"/>
            <a:ext cx="7499504" cy="104775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9948" y="3193256"/>
            <a:ext cx="7501241" cy="514350"/>
          </a:xfrm>
        </p:spPr>
        <p:txBody>
          <a:bodyPr lIns="0" tIns="34295" rIns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342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reeform 6"/>
          <p:cNvSpPr>
            <a:spLocks noChangeAspect="1" noEditPoints="1"/>
          </p:cNvSpPr>
          <p:nvPr userDrawn="1"/>
        </p:nvSpPr>
        <p:spPr bwMode="auto">
          <a:xfrm>
            <a:off x="406109" y="402431"/>
            <a:ext cx="628773" cy="6858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903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low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1"/>
            <a:ext cx="3581142" cy="10858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9147" y="402432"/>
            <a:ext cx="4173037" cy="1085850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1714500"/>
            <a:ext cx="9144000" cy="3429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77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_33%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634" y="2474369"/>
            <a:ext cx="4095626" cy="1204913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405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4634" y="3684044"/>
            <a:ext cx="4095626" cy="514350"/>
          </a:xfrm>
        </p:spPr>
        <p:txBody>
          <a:bodyPr lIns="0" tIns="45720" rIns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  <a:lvl2pPr marL="3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30043" y="4601766"/>
            <a:ext cx="7683914" cy="274320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Freeform 6"/>
          <p:cNvSpPr>
            <a:spLocks noChangeAspect="1" noEditPoints="1"/>
          </p:cNvSpPr>
          <p:nvPr userDrawn="1"/>
        </p:nvSpPr>
        <p:spPr bwMode="auto">
          <a:xfrm>
            <a:off x="284634" y="267414"/>
            <a:ext cx="628773" cy="6858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4065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WOT Analysis Ic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1191" y="0"/>
            <a:ext cx="4567760" cy="5143500"/>
          </a:xfrm>
          <a:solidFill>
            <a:schemeClr val="bg2"/>
          </a:solidFill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4842008" y="4050507"/>
            <a:ext cx="3843482" cy="702468"/>
          </a:xfrm>
        </p:spPr>
        <p:txBody>
          <a:bodyPr/>
          <a:lstStyle>
            <a:lvl1pPr marL="0" indent="0">
              <a:lnSpc>
                <a:spcPct val="114000"/>
              </a:lnSpc>
              <a:buNone/>
              <a:defRPr sz="12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4843533" y="402241"/>
            <a:ext cx="3841958" cy="795528"/>
          </a:xfrm>
        </p:spPr>
        <p:txBody>
          <a:bodyPr tIns="0" bIns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4842008" y="1197769"/>
            <a:ext cx="3841958" cy="228600"/>
          </a:xfrm>
        </p:spPr>
        <p:txBody>
          <a:bodyPr/>
          <a:lstStyle>
            <a:lvl1pPr marL="0" indent="0">
              <a:buNone/>
              <a:defRPr sz="1500" b="1">
                <a:solidFill>
                  <a:srgbClr val="0057B8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4842008" y="1618123"/>
            <a:ext cx="3841958" cy="2151729"/>
          </a:xfrm>
        </p:spPr>
        <p:txBody>
          <a:bodyPr/>
          <a:lstStyle>
            <a:lvl1pPr>
              <a:lnSpc>
                <a:spcPct val="113000"/>
              </a:lnSpc>
              <a:spcBef>
                <a:spcPts val="450"/>
              </a:spcBef>
              <a:defRPr sz="1200"/>
            </a:lvl1pPr>
            <a:lvl2pPr marL="385763" indent="-128588">
              <a:lnSpc>
                <a:spcPct val="113000"/>
              </a:lnSpc>
              <a:spcBef>
                <a:spcPts val="450"/>
              </a:spcBef>
              <a:defRPr sz="1200"/>
            </a:lvl2pPr>
            <a:lvl3pPr marL="642938" indent="-128588">
              <a:lnSpc>
                <a:spcPct val="113000"/>
              </a:lnSpc>
              <a:spcBef>
                <a:spcPts val="450"/>
              </a:spcBef>
              <a:defRPr sz="1200"/>
            </a:lvl3pPr>
            <a:lvl4pPr marL="985838" indent="-128588">
              <a:lnSpc>
                <a:spcPct val="113000"/>
              </a:lnSpc>
              <a:spcBef>
                <a:spcPts val="450"/>
              </a:spcBef>
              <a:defRPr sz="1200"/>
            </a:lvl4pPr>
            <a:lvl5pPr marL="1243013" indent="-128588">
              <a:lnSpc>
                <a:spcPct val="113000"/>
              </a:lnSpc>
              <a:spcBef>
                <a:spcPts val="45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20D11EB5-72D3-4360-BDB3-DD68AE59C3FD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4313F59D-FD4D-4365-A626-F0C5D7D1EB7A}" type="datetimeFigureOut">
              <a:rPr lang="en-US"/>
              <a:pPr>
                <a:defRPr/>
              </a:pPr>
              <a:t>10/17/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EB5A724-5FA8-45B7-BE26-6F3FDB00DF83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1705419" y="4601766"/>
            <a:ext cx="7042000" cy="273844"/>
          </a:xfrm>
        </p:spPr>
        <p:txBody>
          <a:bodyPr/>
          <a:lstStyle>
            <a:lvl1pPr algn="r">
              <a:lnSpc>
                <a:spcPct val="90000"/>
              </a:lnSpc>
              <a:defRPr sz="90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018154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t U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D976F89-0F1C-4E91-B885-A6D9D573DC17}"/>
              </a:ext>
            </a:extLst>
          </p:cNvPr>
          <p:cNvSpPr/>
          <p:nvPr userDrawn="1"/>
        </p:nvSpPr>
        <p:spPr>
          <a:xfrm>
            <a:off x="6098779" y="0"/>
            <a:ext cx="3045221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24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13EBE9-8065-436A-B3D0-59208DFF9D3C}"/>
              </a:ext>
            </a:extLst>
          </p:cNvPr>
          <p:cNvSpPr txBox="1"/>
          <p:nvPr userDrawn="1"/>
        </p:nvSpPr>
        <p:spPr>
          <a:xfrm>
            <a:off x="6263128" y="4993482"/>
            <a:ext cx="2880872" cy="150019"/>
          </a:xfrm>
          <a:prstGeom prst="rect">
            <a:avLst/>
          </a:prstGeom>
        </p:spPr>
        <p:txBody>
          <a:bodyPr lIns="68586" tIns="34293" rIns="68586" bIns="34293" anchor="ctr"/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4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25">
                <a:solidFill>
                  <a:schemeClr val="bg2"/>
                </a:solidFill>
                <a:latin typeface="+mn-lt"/>
              </a:rPr>
              <a:t>©2020 Mayo Foundation for Medical Education and Research  |  slide-</a:t>
            </a:r>
            <a:fld id="{5AD84522-FDB5-4F01-A04D-FE1658FDE622}" type="slidenum">
              <a:rPr lang="en-US" sz="525" smtClean="0">
                <a:solidFill>
                  <a:schemeClr val="bg2"/>
                </a:solidFill>
                <a:latin typeface="+mn-lt"/>
              </a:rPr>
              <a:pPr defTabSz="91424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525">
              <a:solidFill>
                <a:schemeClr val="bg2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635" y="395287"/>
            <a:ext cx="2509300" cy="795338"/>
          </a:xfrm>
        </p:spPr>
        <p:txBody>
          <a:bodyPr tIns="0" bIns="0"/>
          <a:lstStyle>
            <a:lvl1pPr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049389" y="0"/>
            <a:ext cx="3045222" cy="5143500"/>
          </a:xfrm>
          <a:ln>
            <a:noFill/>
          </a:ln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>
          <a:xfrm>
            <a:off x="6373885" y="738283"/>
            <a:ext cx="2373534" cy="459486"/>
          </a:xfrm>
        </p:spPr>
        <p:txBody>
          <a:bodyPr bIns="0" anchor="b"/>
          <a:lstStyle>
            <a:lvl1pPr marL="0" indent="0" algn="l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284015" y="4046315"/>
            <a:ext cx="2509609" cy="69951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2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6373885" y="4046315"/>
            <a:ext cx="2498409" cy="69951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2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284015" y="1485900"/>
            <a:ext cx="2509300" cy="2153412"/>
          </a:xfrm>
        </p:spPr>
        <p:txBody>
          <a:bodyPr/>
          <a:lstStyle>
            <a:lvl1pPr>
              <a:lnSpc>
                <a:spcPct val="113000"/>
              </a:lnSpc>
              <a:spcBef>
                <a:spcPts val="450"/>
              </a:spcBef>
              <a:defRPr sz="1200"/>
            </a:lvl1pPr>
            <a:lvl2pPr marL="385763" indent="-128588">
              <a:lnSpc>
                <a:spcPct val="113000"/>
              </a:lnSpc>
              <a:spcBef>
                <a:spcPts val="450"/>
              </a:spcBef>
              <a:defRPr sz="1200"/>
            </a:lvl2pPr>
            <a:lvl3pPr marL="642938" indent="-128588">
              <a:lnSpc>
                <a:spcPct val="113000"/>
              </a:lnSpc>
              <a:spcBef>
                <a:spcPts val="450"/>
              </a:spcBef>
              <a:defRPr sz="1200"/>
            </a:lvl3pPr>
            <a:lvl4pPr marL="985838" indent="-128588">
              <a:lnSpc>
                <a:spcPct val="113000"/>
              </a:lnSpc>
              <a:spcBef>
                <a:spcPts val="450"/>
              </a:spcBef>
              <a:defRPr sz="1200"/>
            </a:lvl4pPr>
            <a:lvl5pPr marL="1243013" indent="-128588">
              <a:lnSpc>
                <a:spcPct val="113000"/>
              </a:lnSpc>
              <a:spcBef>
                <a:spcPts val="45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6373885" y="1485900"/>
            <a:ext cx="2037357" cy="2153412"/>
          </a:xfrm>
        </p:spPr>
        <p:txBody>
          <a:bodyPr/>
          <a:lstStyle>
            <a:lvl1pPr>
              <a:lnSpc>
                <a:spcPct val="113000"/>
              </a:lnSpc>
              <a:spcBef>
                <a:spcPts val="45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1pPr>
            <a:lvl2pPr marL="385763" indent="-128588">
              <a:lnSpc>
                <a:spcPct val="113000"/>
              </a:lnSpc>
              <a:spcBef>
                <a:spcPts val="45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2pPr>
            <a:lvl3pPr marL="642938" indent="-128588">
              <a:lnSpc>
                <a:spcPct val="113000"/>
              </a:lnSpc>
              <a:spcBef>
                <a:spcPts val="45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 marL="985838" indent="-128588">
              <a:lnSpc>
                <a:spcPct val="113000"/>
              </a:lnSpc>
              <a:spcBef>
                <a:spcPts val="45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1243013" indent="-128588">
              <a:lnSpc>
                <a:spcPct val="113000"/>
              </a:lnSpc>
              <a:spcBef>
                <a:spcPts val="45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7CA49899-A469-42A8-9E57-FEB2360D5AA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730044" y="4601766"/>
            <a:ext cx="5122212" cy="2738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740681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>
            <a:extLst>
              <a:ext uri="{FF2B5EF4-FFF2-40B4-BE49-F238E27FC236}">
                <a16:creationId xmlns:a16="http://schemas.microsoft.com/office/drawing/2014/main" id="{106F0512-C1B0-4DEF-AC29-1268102D803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84634" y="267891"/>
            <a:ext cx="628814" cy="685800"/>
          </a:xfrm>
          <a:custGeom>
            <a:avLst/>
            <a:gdLst>
              <a:gd name="T0" fmla="*/ 508737 w 1089"/>
              <a:gd name="T1" fmla="*/ 726594 h 1188"/>
              <a:gd name="T2" fmla="*/ 531057 w 1089"/>
              <a:gd name="T3" fmla="*/ 584970 h 1188"/>
              <a:gd name="T4" fmla="*/ 307089 w 1089"/>
              <a:gd name="T5" fmla="*/ 744297 h 1188"/>
              <a:gd name="T6" fmla="*/ 437929 w 1089"/>
              <a:gd name="T7" fmla="*/ 554952 h 1188"/>
              <a:gd name="T8" fmla="*/ 277073 w 1089"/>
              <a:gd name="T9" fmla="*/ 715818 h 1188"/>
              <a:gd name="T10" fmla="*/ 347881 w 1089"/>
              <a:gd name="T11" fmla="*/ 611139 h 1188"/>
              <a:gd name="T12" fmla="*/ 168553 w 1089"/>
              <a:gd name="T13" fmla="*/ 611139 h 1188"/>
              <a:gd name="T14" fmla="*/ 377127 w 1089"/>
              <a:gd name="T15" fmla="*/ 532630 h 1188"/>
              <a:gd name="T16" fmla="*/ 258602 w 1089"/>
              <a:gd name="T17" fmla="*/ 768927 h 1188"/>
              <a:gd name="T18" fmla="*/ 579544 w 1089"/>
              <a:gd name="T19" fmla="*/ 768927 h 1188"/>
              <a:gd name="T20" fmla="*/ 668824 w 1089"/>
              <a:gd name="T21" fmla="*/ 611139 h 1188"/>
              <a:gd name="T22" fmla="*/ 561073 w 1089"/>
              <a:gd name="T23" fmla="*/ 554952 h 1188"/>
              <a:gd name="T24" fmla="*/ 668824 w 1089"/>
              <a:gd name="T25" fmla="*/ 611139 h 1188"/>
              <a:gd name="T26" fmla="*/ 781962 w 1089"/>
              <a:gd name="T27" fmla="*/ 219364 h 1188"/>
              <a:gd name="T28" fmla="*/ 831219 w 1089"/>
              <a:gd name="T29" fmla="*/ 348673 h 1188"/>
              <a:gd name="T30" fmla="*/ 817366 w 1089"/>
              <a:gd name="T31" fmla="*/ 262467 h 1188"/>
              <a:gd name="T32" fmla="*/ 623414 w 1089"/>
              <a:gd name="T33" fmla="*/ 352521 h 1188"/>
              <a:gd name="T34" fmla="*/ 671133 w 1089"/>
              <a:gd name="T35" fmla="*/ 364836 h 1188"/>
              <a:gd name="T36" fmla="*/ 671133 w 1089"/>
              <a:gd name="T37" fmla="*/ 222442 h 1188"/>
              <a:gd name="T38" fmla="*/ 583393 w 1089"/>
              <a:gd name="T39" fmla="*/ 233218 h 1188"/>
              <a:gd name="T40" fmla="*/ 548759 w 1089"/>
              <a:gd name="T41" fmla="*/ 257848 h 1188"/>
              <a:gd name="T42" fmla="*/ 406374 w 1089"/>
              <a:gd name="T43" fmla="*/ 232448 h 1188"/>
              <a:gd name="T44" fmla="*/ 406374 w 1089"/>
              <a:gd name="T45" fmla="*/ 376382 h 1188"/>
              <a:gd name="T46" fmla="*/ 441008 w 1089"/>
              <a:gd name="T47" fmla="*/ 253230 h 1188"/>
              <a:gd name="T48" fmla="*/ 314016 w 1089"/>
              <a:gd name="T49" fmla="*/ 233218 h 1188"/>
              <a:gd name="T50" fmla="*/ 314016 w 1089"/>
              <a:gd name="T51" fmla="*/ 376382 h 1188"/>
              <a:gd name="T52" fmla="*/ 362504 w 1089"/>
              <a:gd name="T53" fmla="*/ 246303 h 1188"/>
              <a:gd name="T54" fmla="*/ 314016 w 1089"/>
              <a:gd name="T55" fmla="*/ 233218 h 1188"/>
              <a:gd name="T56" fmla="*/ 253214 w 1089"/>
              <a:gd name="T57" fmla="*/ 363297 h 1188"/>
              <a:gd name="T58" fmla="*/ 237821 w 1089"/>
              <a:gd name="T59" fmla="*/ 233218 h 1188"/>
              <a:gd name="T60" fmla="*/ 187024 w 1089"/>
              <a:gd name="T61" fmla="*/ 246303 h 1188"/>
              <a:gd name="T62" fmla="*/ 291696 w 1089"/>
              <a:gd name="T63" fmla="*/ 376382 h 1188"/>
              <a:gd name="T64" fmla="*/ 144694 w 1089"/>
              <a:gd name="T65" fmla="*/ 229370 h 1188"/>
              <a:gd name="T66" fmla="*/ 148542 w 1089"/>
              <a:gd name="T67" fmla="*/ 357139 h 1188"/>
              <a:gd name="T68" fmla="*/ 87740 w 1089"/>
              <a:gd name="T69" fmla="*/ 232448 h 1188"/>
              <a:gd name="T70" fmla="*/ 680368 w 1089"/>
              <a:gd name="T71" fmla="*/ 12315 h 1188"/>
              <a:gd name="T72" fmla="*/ 597246 w 1089"/>
              <a:gd name="T73" fmla="*/ 82358 h 1188"/>
              <a:gd name="T74" fmla="*/ 597246 w 1089"/>
              <a:gd name="T75" fmla="*/ 82358 h 1188"/>
              <a:gd name="T76" fmla="*/ 571848 w 1089"/>
              <a:gd name="T77" fmla="*/ 27709 h 1188"/>
              <a:gd name="T78" fmla="*/ 540292 w 1089"/>
              <a:gd name="T79" fmla="*/ 13085 h 1188"/>
              <a:gd name="T80" fmla="*/ 492574 w 1089"/>
              <a:gd name="T81" fmla="*/ 30788 h 1188"/>
              <a:gd name="T82" fmla="*/ 437160 w 1089"/>
              <a:gd name="T83" fmla="*/ 3079 h 1188"/>
              <a:gd name="T84" fmla="*/ 501810 w 1089"/>
              <a:gd name="T85" fmla="*/ 132388 h 1188"/>
              <a:gd name="T86" fmla="*/ 549528 w 1089"/>
              <a:gd name="T87" fmla="*/ 145473 h 1188"/>
              <a:gd name="T88" fmla="*/ 341723 w 1089"/>
              <a:gd name="T89" fmla="*/ 92364 h 1188"/>
              <a:gd name="T90" fmla="*/ 336336 w 1089"/>
              <a:gd name="T91" fmla="*/ 104679 h 1188"/>
              <a:gd name="T92" fmla="*/ 391751 w 1089"/>
              <a:gd name="T93" fmla="*/ 145473 h 1188"/>
              <a:gd name="T94" fmla="*/ 436390 w 1089"/>
              <a:gd name="T95" fmla="*/ 130079 h 1188"/>
              <a:gd name="T96" fmla="*/ 291696 w 1089"/>
              <a:gd name="T97" fmla="*/ 145473 h 1188"/>
              <a:gd name="T98" fmla="*/ 126222 w 1089"/>
              <a:gd name="T99" fmla="*/ 145473 h 1188"/>
              <a:gd name="T100" fmla="*/ 171631 w 1089"/>
              <a:gd name="T101" fmla="*/ 151630 h 1188"/>
              <a:gd name="T102" fmla="*/ 212423 w 1089"/>
              <a:gd name="T103" fmla="*/ 156248 h 1188"/>
              <a:gd name="T104" fmla="*/ 258602 w 1089"/>
              <a:gd name="T105" fmla="*/ 26170 h 1188"/>
              <a:gd name="T106" fmla="*/ 176249 w 1089"/>
              <a:gd name="T107" fmla="*/ 113915 h 1188"/>
              <a:gd name="T108" fmla="*/ 91588 w 1089"/>
              <a:gd name="T109" fmla="*/ 36176 h 1188"/>
              <a:gd name="T110" fmla="*/ 126222 w 1089"/>
              <a:gd name="T111" fmla="*/ 156248 h 11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634" y="3257550"/>
            <a:ext cx="4095626" cy="1204913"/>
          </a:xfrm>
        </p:spPr>
        <p:txBody>
          <a:bodyPr tIns="0" bIns="0">
            <a:noAutofit/>
          </a:bodyPr>
          <a:lstStyle>
            <a:lvl1pPr algn="l">
              <a:lnSpc>
                <a:spcPct val="80000"/>
              </a:lnSpc>
              <a:defRPr sz="405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4634" y="4467225"/>
            <a:ext cx="4095626" cy="514350"/>
          </a:xfrm>
        </p:spPr>
        <p:txBody>
          <a:bodyPr tIns="4572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050" b="1">
                <a:solidFill>
                  <a:schemeClr val="accent1"/>
                </a:solidFill>
              </a:defRPr>
            </a:lvl1pPr>
            <a:lvl2pPr marL="3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572000" y="0"/>
            <a:ext cx="4572000" cy="5143500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DB09386-6BE6-41E3-8288-3F610E5497C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730043" y="4601766"/>
            <a:ext cx="7683914" cy="273844"/>
          </a:xfrm>
        </p:spPr>
        <p:txBody>
          <a:bodyPr/>
          <a:lstStyle>
            <a:lvl1pPr>
              <a:defRPr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72050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_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7761FA5C-E22F-4F5C-A26B-56480725E1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8964" y="258812"/>
            <a:ext cx="1448177" cy="282476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7DE3DAD0-E107-4D2D-9BA9-967368930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8583" r="46723" b="18583"/>
          <a:stretch/>
        </p:blipFill>
        <p:spPr>
          <a:xfrm>
            <a:off x="4829242" y="0"/>
            <a:ext cx="4362245" cy="51435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ED50AEDE-D9A3-4881-B10B-01C4A1FEFB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7190" y="2450306"/>
            <a:ext cx="7093395" cy="738188"/>
          </a:xfrm>
        </p:spPr>
        <p:txBody>
          <a:bodyPr lIns="0" tIns="45720" rIns="0" bIns="0" anchor="t" anchorCtr="0">
            <a:noAutofit/>
          </a:bodyPr>
          <a:lstStyle>
            <a:lvl1pPr algn="l">
              <a:lnSpc>
                <a:spcPct val="80000"/>
              </a:lnSpc>
              <a:defRPr sz="1800" b="0" cap="none" baseline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BB9067-3188-47B7-9197-421B3F1E3E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530" r="29290"/>
          <a:stretch/>
        </p:blipFill>
        <p:spPr>
          <a:xfrm>
            <a:off x="701461" y="1885950"/>
            <a:ext cx="3972960" cy="60937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E56572B-B447-4E16-8596-3BCA160D2C6F}"/>
              </a:ext>
            </a:extLst>
          </p:cNvPr>
          <p:cNvSpPr txBox="1"/>
          <p:nvPr userDrawn="1"/>
        </p:nvSpPr>
        <p:spPr>
          <a:xfrm>
            <a:off x="741953" y="4964886"/>
            <a:ext cx="3001157" cy="150040"/>
          </a:xfrm>
          <a:prstGeom prst="rect">
            <a:avLst/>
          </a:prstGeom>
        </p:spPr>
        <p:txBody>
          <a:bodyPr vert="horz" lIns="0" tIns="34293" rIns="0" bIns="34293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l"/>
            <a:r>
              <a:rPr lang="en-US" sz="600">
                <a:solidFill>
                  <a:schemeClr val="tx1">
                    <a:lumMod val="50000"/>
                    <a:lumOff val="50000"/>
                  </a:schemeClr>
                </a:solidFill>
              </a:rPr>
              <a:t>©</a:t>
            </a:r>
            <a:fld id="{4CF53B5C-E093-41E3-8336-D51223FD2571}" type="datetimeyyyy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23</a:t>
            </a:fld>
            <a:r>
              <a:rPr lang="en-US" sz="600">
                <a:solidFill>
                  <a:schemeClr val="tx1">
                    <a:lumMod val="50000"/>
                    <a:lumOff val="50000"/>
                  </a:schemeClr>
                </a:solidFill>
              </a:rPr>
              <a:t> Mayo Foundation for Medical Education and Research  |  slide </a:t>
            </a:r>
            <a:fld id="{32D4CE3D-46EA-43C6-ACB1-26417F520AB2}" type="slidenum">
              <a:rPr lang="en-US" sz="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r>
              <a:rPr lang="en-US" sz="60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8734242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_33% image">
  <p:cSld name="3_Title Slide_33% imag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284634" y="3249502"/>
            <a:ext cx="4095626" cy="120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405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ubTitle" idx="1"/>
          </p:nvPr>
        </p:nvSpPr>
        <p:spPr>
          <a:xfrm>
            <a:off x="284634" y="4459177"/>
            <a:ext cx="4095626" cy="51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1">
                <a:solidFill>
                  <a:schemeClr val="accent1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ftr" idx="11"/>
          </p:nvPr>
        </p:nvSpPr>
        <p:spPr>
          <a:xfrm>
            <a:off x="4571999" y="4601766"/>
            <a:ext cx="3841958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"/>
          <p:cNvSpPr/>
          <p:nvPr/>
        </p:nvSpPr>
        <p:spPr>
          <a:xfrm>
            <a:off x="284634" y="267414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2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2"/>
          <p:cNvSpPr/>
          <p:nvPr/>
        </p:nvSpPr>
        <p:spPr>
          <a:xfrm>
            <a:off x="284634" y="267414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331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Blue Bottom">
  <p:cSld name="2 column Blue Bottom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7"/>
          <p:cNvSpPr/>
          <p:nvPr/>
        </p:nvSpPr>
        <p:spPr>
          <a:xfrm>
            <a:off x="0" y="2310361"/>
            <a:ext cx="9144000" cy="283313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5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7"/>
          <p:cNvSpPr txBox="1">
            <a:spLocks noGrp="1"/>
          </p:cNvSpPr>
          <p:nvPr>
            <p:ph type="title"/>
          </p:nvPr>
        </p:nvSpPr>
        <p:spPr>
          <a:xfrm>
            <a:off x="284634" y="402431"/>
            <a:ext cx="4026551" cy="1314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7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7"/>
          <p:cNvSpPr txBox="1">
            <a:spLocks noGrp="1"/>
          </p:cNvSpPr>
          <p:nvPr>
            <p:ph type="ftr" idx="11"/>
          </p:nvPr>
        </p:nvSpPr>
        <p:spPr>
          <a:xfrm>
            <a:off x="730042" y="4601766"/>
            <a:ext cx="7683915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7"/>
          <p:cNvSpPr txBox="1">
            <a:spLocks noGrp="1"/>
          </p:cNvSpPr>
          <p:nvPr>
            <p:ph type="body" idx="1"/>
          </p:nvPr>
        </p:nvSpPr>
        <p:spPr>
          <a:xfrm>
            <a:off x="284634" y="2571750"/>
            <a:ext cx="4026551" cy="4594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2000"/>
              <a:buNone/>
              <a:defRPr sz="1500" b="1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7"/>
          <p:cNvSpPr txBox="1">
            <a:spLocks noGrp="1"/>
          </p:cNvSpPr>
          <p:nvPr>
            <p:ph type="body" idx="2"/>
          </p:nvPr>
        </p:nvSpPr>
        <p:spPr>
          <a:xfrm>
            <a:off x="284634" y="3296412"/>
            <a:ext cx="4026551" cy="13053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7"/>
          <p:cNvSpPr txBox="1">
            <a:spLocks noGrp="1"/>
          </p:cNvSpPr>
          <p:nvPr>
            <p:ph type="body" idx="3"/>
          </p:nvPr>
        </p:nvSpPr>
        <p:spPr>
          <a:xfrm>
            <a:off x="4831624" y="3296412"/>
            <a:ext cx="3182941" cy="13053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2476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20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7"/>
          <p:cNvSpPr/>
          <p:nvPr/>
        </p:nvSpPr>
        <p:spPr>
          <a:xfrm>
            <a:off x="0" y="2310361"/>
            <a:ext cx="9144000" cy="283313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5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425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graph">
  <p:cSld name="Full graph">
    <p:spTree>
      <p:nvGrpSpPr>
        <p:cNvPr id="1" name="Shape 4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" name="Google Shape;415;p45"/>
          <p:cNvSpPr txBox="1">
            <a:spLocks noGrp="1"/>
          </p:cNvSpPr>
          <p:nvPr>
            <p:ph type="title"/>
          </p:nvPr>
        </p:nvSpPr>
        <p:spPr>
          <a:xfrm>
            <a:off x="730044" y="402432"/>
            <a:ext cx="7683914" cy="511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" name="Google Shape;416;p45"/>
          <p:cNvSpPr txBox="1">
            <a:spLocks noGrp="1"/>
          </p:cNvSpPr>
          <p:nvPr>
            <p:ph type="body" idx="1"/>
          </p:nvPr>
        </p:nvSpPr>
        <p:spPr>
          <a:xfrm>
            <a:off x="730044" y="1193006"/>
            <a:ext cx="7683914" cy="3291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7" name="Google Shape;417;p45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8" name="Google Shape;418;p45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8502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bar with 3 icon bracket">
  <p:cSld name="Blue bar with 3 icon bracket"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13"/>
          <p:cNvSpPr txBox="1">
            <a:spLocks noGrp="1"/>
          </p:cNvSpPr>
          <p:nvPr>
            <p:ph type="title"/>
          </p:nvPr>
        </p:nvSpPr>
        <p:spPr>
          <a:xfrm>
            <a:off x="284634" y="1197769"/>
            <a:ext cx="1836422" cy="1373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2400" b="1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13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13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13"/>
          <p:cNvSpPr txBox="1">
            <a:spLocks noGrp="1"/>
          </p:cNvSpPr>
          <p:nvPr>
            <p:ph type="body" idx="1"/>
          </p:nvPr>
        </p:nvSpPr>
        <p:spPr>
          <a:xfrm>
            <a:off x="6513224" y="856775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13"/>
          <p:cNvSpPr txBox="1">
            <a:spLocks noGrp="1"/>
          </p:cNvSpPr>
          <p:nvPr>
            <p:ph type="body" idx="2"/>
          </p:nvPr>
        </p:nvSpPr>
        <p:spPr>
          <a:xfrm>
            <a:off x="6513224" y="3689985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13"/>
          <p:cNvSpPr txBox="1">
            <a:spLocks noGrp="1"/>
          </p:cNvSpPr>
          <p:nvPr>
            <p:ph type="body" idx="3"/>
          </p:nvPr>
        </p:nvSpPr>
        <p:spPr>
          <a:xfrm>
            <a:off x="6513224" y="2268379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13"/>
          <p:cNvSpPr txBox="1">
            <a:spLocks noGrp="1"/>
          </p:cNvSpPr>
          <p:nvPr>
            <p:ph type="body" idx="4"/>
          </p:nvPr>
        </p:nvSpPr>
        <p:spPr>
          <a:xfrm>
            <a:off x="6511700" y="1041083"/>
            <a:ext cx="2229431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13"/>
          <p:cNvSpPr txBox="1">
            <a:spLocks noGrp="1"/>
          </p:cNvSpPr>
          <p:nvPr>
            <p:ph type="body" idx="5"/>
          </p:nvPr>
        </p:nvSpPr>
        <p:spPr>
          <a:xfrm>
            <a:off x="6511700" y="2458879"/>
            <a:ext cx="2229431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13"/>
          <p:cNvSpPr txBox="1">
            <a:spLocks noGrp="1"/>
          </p:cNvSpPr>
          <p:nvPr>
            <p:ph type="body" idx="6"/>
          </p:nvPr>
        </p:nvSpPr>
        <p:spPr>
          <a:xfrm>
            <a:off x="6511700" y="3880485"/>
            <a:ext cx="2229431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7"/>
          </p:nvPr>
        </p:nvSpPr>
        <p:spPr>
          <a:xfrm>
            <a:off x="2554175" y="1195673"/>
            <a:ext cx="2277449" cy="2235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body" idx="8"/>
          </p:nvPr>
        </p:nvSpPr>
        <p:spPr>
          <a:xfrm>
            <a:off x="2554175" y="3710273"/>
            <a:ext cx="2277449" cy="10355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243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086" lvl="0" indent="-342815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171" lvl="1" indent="-317421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257" lvl="2" indent="-317421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343" lvl="3" indent="-317421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429" lvl="4" indent="-317421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2515" lvl="5" indent="-317421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199600" lvl="6" indent="-317421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6686" lvl="7" indent="-317421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3771" lvl="8" indent="-317421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9257776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lower image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714500"/>
            <a:ext cx="9144000" cy="34290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9144000" cy="1714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3"/>
            <a:ext cx="3581142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9147" y="402432"/>
            <a:ext cx="4173037" cy="1085850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730044" y="2128837"/>
            <a:ext cx="8022139" cy="26241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005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meline start">
  <p:cSld name="1_Timeline start"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p62"/>
          <p:cNvSpPr txBox="1">
            <a:spLocks noGrp="1"/>
          </p:cNvSpPr>
          <p:nvPr>
            <p:ph type="title"/>
          </p:nvPr>
        </p:nvSpPr>
        <p:spPr>
          <a:xfrm>
            <a:off x="635277" y="1831507"/>
            <a:ext cx="1326245" cy="106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2400" b="1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5" name="Google Shape;565;p62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" name="Google Shape;566;p62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7" name="Google Shape;567;p62"/>
          <p:cNvSpPr/>
          <p:nvPr/>
        </p:nvSpPr>
        <p:spPr>
          <a:xfrm>
            <a:off x="405770" y="1470392"/>
            <a:ext cx="1785258" cy="1784793"/>
          </a:xfrm>
          <a:prstGeom prst="ellipse">
            <a:avLst/>
          </a:prstGeom>
          <a:noFill/>
          <a:ln w="38100" cap="flat" cmpd="sng">
            <a:solidFill>
              <a:srgbClr val="0057B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5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856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_with full blee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4111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76400" y="4601766"/>
            <a:ext cx="7075783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586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_33% image">
  <p:cSld name="2_Title Slide_33% imag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284634" y="3249502"/>
            <a:ext cx="4095626" cy="120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405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ubTitle" idx="1"/>
          </p:nvPr>
        </p:nvSpPr>
        <p:spPr>
          <a:xfrm>
            <a:off x="284634" y="4459177"/>
            <a:ext cx="4095626" cy="51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1">
                <a:solidFill>
                  <a:schemeClr val="accent1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ftr" idx="11"/>
          </p:nvPr>
        </p:nvSpPr>
        <p:spPr>
          <a:xfrm>
            <a:off x="4571999" y="4601766"/>
            <a:ext cx="3841958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"/>
          <p:cNvSpPr/>
          <p:nvPr/>
        </p:nvSpPr>
        <p:spPr>
          <a:xfrm>
            <a:off x="284634" y="267414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20;p2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2"/>
          <p:cNvSpPr/>
          <p:nvPr/>
        </p:nvSpPr>
        <p:spPr>
          <a:xfrm>
            <a:off x="284634" y="267414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/3 Content" type="obj">
  <p:cSld name="OBJEC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284634" y="402432"/>
            <a:ext cx="5560477" cy="440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27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body" idx="1"/>
          </p:nvPr>
        </p:nvSpPr>
        <p:spPr>
          <a:xfrm>
            <a:off x="284634" y="1193006"/>
            <a:ext cx="5560477" cy="3291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1pPr>
            <a:lvl2pPr marL="685800" lvl="1" indent="-2476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600"/>
              <a:buFont typeface="Arial"/>
              <a:buChar char="−"/>
              <a:defRPr sz="1200">
                <a:solidFill>
                  <a:schemeClr val="lt1"/>
                </a:solidFill>
              </a:defRPr>
            </a:lvl2pPr>
            <a:lvl3pPr marL="1028700" lvl="2" indent="-2476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>
                <a:solidFill>
                  <a:schemeClr val="lt1"/>
                </a:solidFill>
              </a:defRPr>
            </a:lvl3pPr>
            <a:lvl4pPr marL="1371600" lvl="3" indent="-2476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>
                <a:solidFill>
                  <a:schemeClr val="lt1"/>
                </a:solidFill>
              </a:defRPr>
            </a:lvl4pPr>
            <a:lvl5pPr marL="1714500" lvl="4" indent="-2476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>
                <a:solidFill>
                  <a:schemeClr val="lt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5122213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5"/>
          <p:cNvSpPr txBox="1"/>
          <p:nvPr/>
        </p:nvSpPr>
        <p:spPr>
          <a:xfrm>
            <a:off x="7010400" y="4993461"/>
            <a:ext cx="2133600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©2020 MFMER  |  slide-</a:t>
            </a:r>
            <a:fld id="{00000000-1234-1234-1234-123412341234}" type="slidenum"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25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48;p5"/>
          <p:cNvSpPr/>
          <p:nvPr/>
        </p:nvSpPr>
        <p:spPr>
          <a:xfrm>
            <a:off x="6098255" y="0"/>
            <a:ext cx="3045745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5"/>
          <p:cNvSpPr txBox="1"/>
          <p:nvPr/>
        </p:nvSpPr>
        <p:spPr>
          <a:xfrm>
            <a:off x="6262890" y="4993461"/>
            <a:ext cx="2881110" cy="15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©2020 Mayo Foundation for Medical Education and Research  |  slide-</a:t>
            </a:r>
            <a:fld id="{00000000-1234-1234-1234-123412341234}" type="slidenum"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25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Blue Bottom">
  <p:cSld name="2 column Blue Bottom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7"/>
          <p:cNvSpPr/>
          <p:nvPr/>
        </p:nvSpPr>
        <p:spPr>
          <a:xfrm>
            <a:off x="0" y="2310361"/>
            <a:ext cx="9144000" cy="283313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5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7"/>
          <p:cNvSpPr txBox="1">
            <a:spLocks noGrp="1"/>
          </p:cNvSpPr>
          <p:nvPr>
            <p:ph type="title"/>
          </p:nvPr>
        </p:nvSpPr>
        <p:spPr>
          <a:xfrm>
            <a:off x="284634" y="402431"/>
            <a:ext cx="4026551" cy="1314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7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7"/>
          <p:cNvSpPr txBox="1">
            <a:spLocks noGrp="1"/>
          </p:cNvSpPr>
          <p:nvPr>
            <p:ph type="ftr" idx="11"/>
          </p:nvPr>
        </p:nvSpPr>
        <p:spPr>
          <a:xfrm>
            <a:off x="730042" y="4601766"/>
            <a:ext cx="7683915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7"/>
          <p:cNvSpPr txBox="1">
            <a:spLocks noGrp="1"/>
          </p:cNvSpPr>
          <p:nvPr>
            <p:ph type="body" idx="1"/>
          </p:nvPr>
        </p:nvSpPr>
        <p:spPr>
          <a:xfrm>
            <a:off x="284634" y="2571750"/>
            <a:ext cx="4026551" cy="4594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2000"/>
              <a:buNone/>
              <a:defRPr sz="1500" b="1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7"/>
          <p:cNvSpPr txBox="1">
            <a:spLocks noGrp="1"/>
          </p:cNvSpPr>
          <p:nvPr>
            <p:ph type="body" idx="2"/>
          </p:nvPr>
        </p:nvSpPr>
        <p:spPr>
          <a:xfrm>
            <a:off x="284634" y="3296412"/>
            <a:ext cx="4026551" cy="13053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7"/>
          <p:cNvSpPr txBox="1">
            <a:spLocks noGrp="1"/>
          </p:cNvSpPr>
          <p:nvPr>
            <p:ph type="body" idx="3"/>
          </p:nvPr>
        </p:nvSpPr>
        <p:spPr>
          <a:xfrm>
            <a:off x="4831624" y="3296412"/>
            <a:ext cx="3182941" cy="13053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2476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20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7"/>
          <p:cNvSpPr/>
          <p:nvPr/>
        </p:nvSpPr>
        <p:spPr>
          <a:xfrm>
            <a:off x="0" y="2310361"/>
            <a:ext cx="9144000" cy="283313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5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ay left border">
  <p:cSld name="Gray left border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12"/>
          <p:cNvSpPr/>
          <p:nvPr/>
        </p:nvSpPr>
        <p:spPr>
          <a:xfrm>
            <a:off x="0" y="1"/>
            <a:ext cx="4311185" cy="51434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12;p12"/>
          <p:cNvSpPr txBox="1">
            <a:spLocks noGrp="1"/>
          </p:cNvSpPr>
          <p:nvPr>
            <p:ph type="title"/>
          </p:nvPr>
        </p:nvSpPr>
        <p:spPr>
          <a:xfrm>
            <a:off x="284634" y="808436"/>
            <a:ext cx="3425525" cy="409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p12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12"/>
          <p:cNvSpPr txBox="1">
            <a:spLocks noGrp="1"/>
          </p:cNvSpPr>
          <p:nvPr>
            <p:ph type="body" idx="1"/>
          </p:nvPr>
        </p:nvSpPr>
        <p:spPr>
          <a:xfrm>
            <a:off x="6198819" y="719615"/>
            <a:ext cx="221516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" name="Google Shape;115;p12"/>
          <p:cNvSpPr txBox="1">
            <a:spLocks noGrp="1"/>
          </p:cNvSpPr>
          <p:nvPr>
            <p:ph type="body" idx="2"/>
          </p:nvPr>
        </p:nvSpPr>
        <p:spPr>
          <a:xfrm>
            <a:off x="6198819" y="3552825"/>
            <a:ext cx="221516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12"/>
          <p:cNvSpPr txBox="1">
            <a:spLocks noGrp="1"/>
          </p:cNvSpPr>
          <p:nvPr>
            <p:ph type="body" idx="3"/>
          </p:nvPr>
        </p:nvSpPr>
        <p:spPr>
          <a:xfrm>
            <a:off x="6198819" y="2131219"/>
            <a:ext cx="221516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" name="Google Shape;117;p12"/>
          <p:cNvSpPr txBox="1">
            <a:spLocks noGrp="1"/>
          </p:cNvSpPr>
          <p:nvPr>
            <p:ph type="body" idx="4"/>
          </p:nvPr>
        </p:nvSpPr>
        <p:spPr>
          <a:xfrm>
            <a:off x="6197295" y="903923"/>
            <a:ext cx="2216663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12"/>
          <p:cNvSpPr txBox="1">
            <a:spLocks noGrp="1"/>
          </p:cNvSpPr>
          <p:nvPr>
            <p:ph type="body" idx="5"/>
          </p:nvPr>
        </p:nvSpPr>
        <p:spPr>
          <a:xfrm>
            <a:off x="6197295" y="2321719"/>
            <a:ext cx="2216663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12"/>
          <p:cNvSpPr txBox="1">
            <a:spLocks noGrp="1"/>
          </p:cNvSpPr>
          <p:nvPr>
            <p:ph type="body" idx="6"/>
          </p:nvPr>
        </p:nvSpPr>
        <p:spPr>
          <a:xfrm>
            <a:off x="6197295" y="3743325"/>
            <a:ext cx="2216663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12"/>
          <p:cNvSpPr txBox="1">
            <a:spLocks noGrp="1"/>
          </p:cNvSpPr>
          <p:nvPr>
            <p:ph type="body" idx="7"/>
          </p:nvPr>
        </p:nvSpPr>
        <p:spPr>
          <a:xfrm>
            <a:off x="284368" y="3691605"/>
            <a:ext cx="3418990" cy="6446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12"/>
          <p:cNvSpPr txBox="1">
            <a:spLocks noGrp="1"/>
          </p:cNvSpPr>
          <p:nvPr>
            <p:ph type="body" idx="8"/>
          </p:nvPr>
        </p:nvSpPr>
        <p:spPr>
          <a:xfrm>
            <a:off x="284369" y="1712119"/>
            <a:ext cx="3425525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1pPr>
            <a:lvl2pPr marL="685800" lvl="1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2pPr>
            <a:lvl3pPr marL="1028700" lvl="2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3pPr>
            <a:lvl4pPr marL="1371600" lvl="3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4pPr>
            <a:lvl5pPr marL="1714500" lvl="4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12"/>
          <p:cNvSpPr txBox="1">
            <a:spLocks noGrp="1"/>
          </p:cNvSpPr>
          <p:nvPr>
            <p:ph type="ftr" idx="11"/>
          </p:nvPr>
        </p:nvSpPr>
        <p:spPr>
          <a:xfrm>
            <a:off x="4831624" y="4601766"/>
            <a:ext cx="3915795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2"/>
          <p:cNvSpPr/>
          <p:nvPr/>
        </p:nvSpPr>
        <p:spPr>
          <a:xfrm>
            <a:off x="0" y="1"/>
            <a:ext cx="4311185" cy="51434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bar with 3 icon bracket">
  <p:cSld name="Blue bar with 3 icon bracket"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13"/>
          <p:cNvSpPr txBox="1">
            <a:spLocks noGrp="1"/>
          </p:cNvSpPr>
          <p:nvPr>
            <p:ph type="title"/>
          </p:nvPr>
        </p:nvSpPr>
        <p:spPr>
          <a:xfrm>
            <a:off x="284634" y="1197769"/>
            <a:ext cx="1836422" cy="1373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2400" b="1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13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13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13"/>
          <p:cNvSpPr txBox="1">
            <a:spLocks noGrp="1"/>
          </p:cNvSpPr>
          <p:nvPr>
            <p:ph type="body" idx="1"/>
          </p:nvPr>
        </p:nvSpPr>
        <p:spPr>
          <a:xfrm>
            <a:off x="6513224" y="856775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13"/>
          <p:cNvSpPr txBox="1">
            <a:spLocks noGrp="1"/>
          </p:cNvSpPr>
          <p:nvPr>
            <p:ph type="body" idx="2"/>
          </p:nvPr>
        </p:nvSpPr>
        <p:spPr>
          <a:xfrm>
            <a:off x="6513224" y="3689985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13"/>
          <p:cNvSpPr txBox="1">
            <a:spLocks noGrp="1"/>
          </p:cNvSpPr>
          <p:nvPr>
            <p:ph type="body" idx="3"/>
          </p:nvPr>
        </p:nvSpPr>
        <p:spPr>
          <a:xfrm>
            <a:off x="6513224" y="2268379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13"/>
          <p:cNvSpPr txBox="1">
            <a:spLocks noGrp="1"/>
          </p:cNvSpPr>
          <p:nvPr>
            <p:ph type="body" idx="4"/>
          </p:nvPr>
        </p:nvSpPr>
        <p:spPr>
          <a:xfrm>
            <a:off x="6511700" y="1041083"/>
            <a:ext cx="2229431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13"/>
          <p:cNvSpPr txBox="1">
            <a:spLocks noGrp="1"/>
          </p:cNvSpPr>
          <p:nvPr>
            <p:ph type="body" idx="5"/>
          </p:nvPr>
        </p:nvSpPr>
        <p:spPr>
          <a:xfrm>
            <a:off x="6511700" y="2458879"/>
            <a:ext cx="2229431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p13"/>
          <p:cNvSpPr txBox="1">
            <a:spLocks noGrp="1"/>
          </p:cNvSpPr>
          <p:nvPr>
            <p:ph type="body" idx="6"/>
          </p:nvPr>
        </p:nvSpPr>
        <p:spPr>
          <a:xfrm>
            <a:off x="6511700" y="3880485"/>
            <a:ext cx="2229431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7"/>
          </p:nvPr>
        </p:nvSpPr>
        <p:spPr>
          <a:xfrm>
            <a:off x="2554175" y="1195673"/>
            <a:ext cx="2277449" cy="2235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body" idx="8"/>
          </p:nvPr>
        </p:nvSpPr>
        <p:spPr>
          <a:xfrm>
            <a:off x="2554175" y="3710273"/>
            <a:ext cx="2277449" cy="10355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_with full bleed image" type="title">
  <p:cSld name="TITLE"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Google Shape;375;p39"/>
          <p:cNvSpPr txBox="1">
            <a:spLocks noGrp="1"/>
          </p:cNvSpPr>
          <p:nvPr>
            <p:ph type="ctrTitle"/>
          </p:nvPr>
        </p:nvSpPr>
        <p:spPr>
          <a:xfrm>
            <a:off x="284634" y="2378869"/>
            <a:ext cx="8129323" cy="1047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405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6" name="Google Shape;376;p39"/>
          <p:cNvSpPr txBox="1">
            <a:spLocks noGrp="1"/>
          </p:cNvSpPr>
          <p:nvPr>
            <p:ph type="subTitle" idx="1"/>
          </p:nvPr>
        </p:nvSpPr>
        <p:spPr>
          <a:xfrm>
            <a:off x="284635" y="3431381"/>
            <a:ext cx="8131006" cy="51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77" name="Google Shape;377;p39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" name="Google Shape;378;p39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9" name="Google Shape;379;p39"/>
          <p:cNvSpPr/>
          <p:nvPr/>
        </p:nvSpPr>
        <p:spPr>
          <a:xfrm>
            <a:off x="284634" y="267414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_33% image">
  <p:cSld name="1_Title Slide_33% image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40"/>
          <p:cNvSpPr/>
          <p:nvPr/>
        </p:nvSpPr>
        <p:spPr>
          <a:xfrm>
            <a:off x="0" y="1"/>
            <a:ext cx="4572000" cy="51434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2" name="Google Shape;382;p40"/>
          <p:cNvSpPr txBox="1">
            <a:spLocks noGrp="1"/>
          </p:cNvSpPr>
          <p:nvPr>
            <p:ph type="ctrTitle"/>
          </p:nvPr>
        </p:nvSpPr>
        <p:spPr>
          <a:xfrm>
            <a:off x="284634" y="2474369"/>
            <a:ext cx="4095626" cy="120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400"/>
              <a:buFont typeface="Arial"/>
              <a:buNone/>
              <a:defRPr sz="4050"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40"/>
          <p:cNvSpPr txBox="1">
            <a:spLocks noGrp="1"/>
          </p:cNvSpPr>
          <p:nvPr>
            <p:ph type="subTitle" idx="1"/>
          </p:nvPr>
        </p:nvSpPr>
        <p:spPr>
          <a:xfrm>
            <a:off x="284634" y="3684044"/>
            <a:ext cx="4095626" cy="51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1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84" name="Google Shape;384;p40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7683914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" name="Google Shape;385;p40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6" name="Google Shape;386;p40"/>
          <p:cNvSpPr/>
          <p:nvPr/>
        </p:nvSpPr>
        <p:spPr>
          <a:xfrm>
            <a:off x="284634" y="274559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 layout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30044" y="1488283"/>
            <a:ext cx="7501700" cy="592931"/>
          </a:xfrm>
        </p:spPr>
        <p:txBody>
          <a:bodyPr/>
          <a:lstStyle>
            <a:lvl1pPr marL="0" indent="0">
              <a:spcBef>
                <a:spcPts val="450"/>
              </a:spcBef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0044" y="3517478"/>
            <a:ext cx="1714947" cy="108356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730044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2660948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591851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6522753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660948" y="3517478"/>
            <a:ext cx="1714947" cy="108356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591851" y="3517478"/>
            <a:ext cx="1714947" cy="108356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6522753" y="3517478"/>
            <a:ext cx="1714947" cy="108356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37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33% image">
  <p:cSld name="3_Title Slide_33% image"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p41"/>
          <p:cNvSpPr/>
          <p:nvPr/>
        </p:nvSpPr>
        <p:spPr>
          <a:xfrm>
            <a:off x="0" y="1"/>
            <a:ext cx="4572000" cy="51434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9" name="Google Shape;389;p41"/>
          <p:cNvSpPr txBox="1">
            <a:spLocks noGrp="1"/>
          </p:cNvSpPr>
          <p:nvPr>
            <p:ph type="ctrTitle"/>
          </p:nvPr>
        </p:nvSpPr>
        <p:spPr>
          <a:xfrm>
            <a:off x="284634" y="3249502"/>
            <a:ext cx="4095626" cy="120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400"/>
              <a:buFont typeface="Arial"/>
              <a:buNone/>
              <a:defRPr sz="4050"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0" name="Google Shape;390;p41"/>
          <p:cNvSpPr txBox="1">
            <a:spLocks noGrp="1"/>
          </p:cNvSpPr>
          <p:nvPr>
            <p:ph type="subTitle" idx="1"/>
          </p:nvPr>
        </p:nvSpPr>
        <p:spPr>
          <a:xfrm>
            <a:off x="284634" y="4459177"/>
            <a:ext cx="4095626" cy="51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1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91" name="Google Shape;391;p41"/>
          <p:cNvSpPr txBox="1">
            <a:spLocks noGrp="1"/>
          </p:cNvSpPr>
          <p:nvPr>
            <p:ph type="ftr" idx="11"/>
          </p:nvPr>
        </p:nvSpPr>
        <p:spPr>
          <a:xfrm>
            <a:off x="4571999" y="4601766"/>
            <a:ext cx="3841958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2" name="Google Shape;392;p41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3" name="Google Shape;393;p41"/>
          <p:cNvSpPr/>
          <p:nvPr/>
        </p:nvSpPr>
        <p:spPr>
          <a:xfrm>
            <a:off x="284634" y="274559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2/3 Content">
  <p:cSld name="1_2/3 Content"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p4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6" name="Google Shape;396;p42"/>
          <p:cNvSpPr txBox="1">
            <a:spLocks noGrp="1"/>
          </p:cNvSpPr>
          <p:nvPr>
            <p:ph type="title"/>
          </p:nvPr>
        </p:nvSpPr>
        <p:spPr>
          <a:xfrm>
            <a:off x="284634" y="402432"/>
            <a:ext cx="5560477" cy="440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7" name="Google Shape;397;p42"/>
          <p:cNvSpPr txBox="1">
            <a:spLocks noGrp="1"/>
          </p:cNvSpPr>
          <p:nvPr>
            <p:ph type="body" idx="1"/>
          </p:nvPr>
        </p:nvSpPr>
        <p:spPr>
          <a:xfrm>
            <a:off x="284634" y="1193006"/>
            <a:ext cx="5560477" cy="3291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685800" lvl="1" indent="-2476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600"/>
              <a:buFont typeface="Arial"/>
              <a:buChar char="−"/>
              <a:defRPr sz="1200">
                <a:solidFill>
                  <a:schemeClr val="dk1"/>
                </a:solidFill>
              </a:defRPr>
            </a:lvl2pPr>
            <a:lvl3pPr marL="1028700" lvl="2" indent="-2476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>
                <a:solidFill>
                  <a:schemeClr val="dk1"/>
                </a:solidFill>
              </a:defRPr>
            </a:lvl3pPr>
            <a:lvl4pPr marL="1371600" lvl="3" indent="-2476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>
                <a:solidFill>
                  <a:schemeClr val="dk1"/>
                </a:solidFill>
              </a:defRPr>
            </a:lvl4pPr>
            <a:lvl5pPr marL="1714500" lvl="4" indent="-2476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>
                <a:solidFill>
                  <a:schemeClr val="dk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8" name="Google Shape;398;p42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9" name="Google Shape;399;p42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5122213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0" name="Google Shape;400;p42"/>
          <p:cNvSpPr txBox="1"/>
          <p:nvPr/>
        </p:nvSpPr>
        <p:spPr>
          <a:xfrm>
            <a:off x="7010400" y="4993461"/>
            <a:ext cx="2133600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©2020 MFMER  |  slide-</a:t>
            </a:r>
            <a:fld id="{00000000-1234-1234-1234-123412341234}" type="slidenum"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25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1" name="Google Shape;401;p42"/>
          <p:cNvSpPr txBox="1"/>
          <p:nvPr/>
        </p:nvSpPr>
        <p:spPr>
          <a:xfrm>
            <a:off x="6262890" y="4993461"/>
            <a:ext cx="2881110" cy="15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©2020 Mayo Foundation for Medical Education and Research  |  slide-</a:t>
            </a:r>
            <a:fld id="{00000000-1234-1234-1234-123412341234}" type="slidenum"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25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50/50 Blue and white">
  <p:cSld name="1_50/50 Blue and white"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43"/>
          <p:cNvSpPr/>
          <p:nvPr/>
        </p:nvSpPr>
        <p:spPr>
          <a:xfrm>
            <a:off x="-14291" y="0"/>
            <a:ext cx="4579146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4" name="Google Shape;404;p43"/>
          <p:cNvSpPr txBox="1">
            <a:spLocks noGrp="1"/>
          </p:cNvSpPr>
          <p:nvPr>
            <p:ph type="title"/>
          </p:nvPr>
        </p:nvSpPr>
        <p:spPr>
          <a:xfrm>
            <a:off x="284634" y="2486025"/>
            <a:ext cx="2776069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5" name="Google Shape;405;p43"/>
          <p:cNvSpPr txBox="1">
            <a:spLocks noGrp="1"/>
          </p:cNvSpPr>
          <p:nvPr>
            <p:ph type="body" idx="1"/>
          </p:nvPr>
        </p:nvSpPr>
        <p:spPr>
          <a:xfrm>
            <a:off x="284634" y="3431381"/>
            <a:ext cx="3880971" cy="1323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1pPr>
            <a:lvl2pPr marL="685800" lvl="1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2pPr>
            <a:lvl3pPr marL="1028700" lvl="2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3pPr>
            <a:lvl4pPr marL="1371600" lvl="3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4pPr>
            <a:lvl5pPr marL="1714500" lvl="4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6" name="Google Shape;406;p43"/>
          <p:cNvSpPr txBox="1">
            <a:spLocks noGrp="1"/>
          </p:cNvSpPr>
          <p:nvPr>
            <p:ph type="ftr" idx="11"/>
          </p:nvPr>
        </p:nvSpPr>
        <p:spPr>
          <a:xfrm>
            <a:off x="4831624" y="4601766"/>
            <a:ext cx="3915795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7" name="Google Shape;407;p43"/>
          <p:cNvSpPr>
            <a:spLocks noGrp="1"/>
          </p:cNvSpPr>
          <p:nvPr>
            <p:ph type="pic" idx="2"/>
          </p:nvPr>
        </p:nvSpPr>
        <p:spPr>
          <a:xfrm>
            <a:off x="4564855" y="0"/>
            <a:ext cx="458629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_Graph right (Tall)">
  <p:cSld name="Two Content_Graph right (Tall)"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p44"/>
          <p:cNvSpPr txBox="1">
            <a:spLocks noGrp="1"/>
          </p:cNvSpPr>
          <p:nvPr>
            <p:ph type="body" idx="1"/>
          </p:nvPr>
        </p:nvSpPr>
        <p:spPr>
          <a:xfrm>
            <a:off x="4831624" y="402432"/>
            <a:ext cx="3581142" cy="40206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Char char="•"/>
              <a:defRPr sz="135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5pPr>
            <a:lvl6pPr marL="2057400" lvl="5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6pPr>
            <a:lvl7pPr marL="2400300" lvl="6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7pPr>
            <a:lvl8pPr marL="2743200" lvl="7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8pPr>
            <a:lvl9pPr marL="3086100" lvl="8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9pPr>
          </a:lstStyle>
          <a:p>
            <a:endParaRPr/>
          </a:p>
        </p:txBody>
      </p:sp>
      <p:sp>
        <p:nvSpPr>
          <p:cNvPr id="410" name="Google Shape;410;p44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1" name="Google Shape;411;p44"/>
          <p:cNvSpPr txBox="1">
            <a:spLocks noGrp="1"/>
          </p:cNvSpPr>
          <p:nvPr>
            <p:ph type="ftr" idx="11"/>
          </p:nvPr>
        </p:nvSpPr>
        <p:spPr>
          <a:xfrm>
            <a:off x="284635" y="4601766"/>
            <a:ext cx="8462784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2" name="Google Shape;412;p44"/>
          <p:cNvSpPr txBox="1">
            <a:spLocks noGrp="1"/>
          </p:cNvSpPr>
          <p:nvPr>
            <p:ph type="title"/>
          </p:nvPr>
        </p:nvSpPr>
        <p:spPr>
          <a:xfrm>
            <a:off x="284634" y="395287"/>
            <a:ext cx="4026551" cy="1092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3" name="Google Shape;413;p44"/>
          <p:cNvSpPr txBox="1">
            <a:spLocks noGrp="1"/>
          </p:cNvSpPr>
          <p:nvPr>
            <p:ph type="body" idx="2"/>
          </p:nvPr>
        </p:nvSpPr>
        <p:spPr>
          <a:xfrm>
            <a:off x="284634" y="2125693"/>
            <a:ext cx="3736916" cy="22974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1pPr>
            <a:lvl2pPr marL="685800" lvl="1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2pPr>
            <a:lvl3pPr marL="1028700" lvl="2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3pPr>
            <a:lvl4pPr marL="1371600" lvl="3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4pPr>
            <a:lvl5pPr marL="1714500" lvl="4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graph">
  <p:cSld name="Full graph">
    <p:spTree>
      <p:nvGrpSpPr>
        <p:cNvPr id="1" name="Shape 4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" name="Google Shape;415;p45"/>
          <p:cNvSpPr txBox="1">
            <a:spLocks noGrp="1"/>
          </p:cNvSpPr>
          <p:nvPr>
            <p:ph type="title"/>
          </p:nvPr>
        </p:nvSpPr>
        <p:spPr>
          <a:xfrm>
            <a:off x="730044" y="402432"/>
            <a:ext cx="7683914" cy="511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" name="Google Shape;416;p45"/>
          <p:cNvSpPr txBox="1">
            <a:spLocks noGrp="1"/>
          </p:cNvSpPr>
          <p:nvPr>
            <p:ph type="body" idx="1"/>
          </p:nvPr>
        </p:nvSpPr>
        <p:spPr>
          <a:xfrm>
            <a:off x="730044" y="1193006"/>
            <a:ext cx="7683914" cy="3291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7" name="Google Shape;417;p45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8" name="Google Shape;418;p45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ue Thank You">
  <p:cSld name="Blue Thank You"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Google Shape;420;p46"/>
          <p:cNvSpPr/>
          <p:nvPr/>
        </p:nvSpPr>
        <p:spPr>
          <a:xfrm>
            <a:off x="1" y="0"/>
            <a:ext cx="7102737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1" name="Google Shape;421;p46"/>
          <p:cNvSpPr txBox="1">
            <a:spLocks noGrp="1"/>
          </p:cNvSpPr>
          <p:nvPr>
            <p:ph type="ctrTitle"/>
          </p:nvPr>
        </p:nvSpPr>
        <p:spPr>
          <a:xfrm>
            <a:off x="284634" y="2140744"/>
            <a:ext cx="6539362" cy="1290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400"/>
              <a:buFont typeface="Arial"/>
              <a:buNone/>
              <a:defRPr sz="4050"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2" name="Google Shape;422;p46"/>
          <p:cNvSpPr txBox="1"/>
          <p:nvPr/>
        </p:nvSpPr>
        <p:spPr>
          <a:xfrm>
            <a:off x="4204954" y="4993461"/>
            <a:ext cx="2881110" cy="15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©2020 Mayo Foundation for Medical Education and Research  |  slide-</a:t>
            </a:r>
            <a:fld id="{00000000-1234-1234-1234-123412341234}" type="slidenum"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25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3" name="Google Shape;423;p46"/>
          <p:cNvSpPr/>
          <p:nvPr/>
        </p:nvSpPr>
        <p:spPr>
          <a:xfrm>
            <a:off x="284634" y="274559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_Centered">
  <p:cSld name="Title Only_Centered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p47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" name="Google Shape;426;p47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7" name="Google Shape;427;p47"/>
          <p:cNvSpPr txBox="1">
            <a:spLocks noGrp="1"/>
          </p:cNvSpPr>
          <p:nvPr>
            <p:ph type="title"/>
          </p:nvPr>
        </p:nvSpPr>
        <p:spPr>
          <a:xfrm>
            <a:off x="730519" y="402431"/>
            <a:ext cx="7682961" cy="795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yo Ending Slide" type="titleOnly">
  <p:cSld name="TITLE_ONLY">
    <p:spTree>
      <p:nvGrpSpPr>
        <p:cNvPr id="1" name="Shape 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Google Shape;429;p48"/>
          <p:cNvSpPr txBox="1">
            <a:spLocks noGrp="1"/>
          </p:cNvSpPr>
          <p:nvPr>
            <p:ph type="title"/>
          </p:nvPr>
        </p:nvSpPr>
        <p:spPr>
          <a:xfrm>
            <a:off x="284635" y="3436145"/>
            <a:ext cx="5135312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405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0" name="Google Shape;430;p48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1" name="Google Shape;431;p48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_33% image">
  <p:cSld name="4_Title Slide_33% image">
    <p:spTree>
      <p:nvGrpSpPr>
        <p:cNvPr id="1" name="Shape 4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Google Shape;433;p49"/>
          <p:cNvSpPr txBox="1">
            <a:spLocks noGrp="1"/>
          </p:cNvSpPr>
          <p:nvPr>
            <p:ph type="ctrTitle"/>
          </p:nvPr>
        </p:nvSpPr>
        <p:spPr>
          <a:xfrm>
            <a:off x="284634" y="3249502"/>
            <a:ext cx="4095626" cy="120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405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4" name="Google Shape;434;p49"/>
          <p:cNvSpPr txBox="1">
            <a:spLocks noGrp="1"/>
          </p:cNvSpPr>
          <p:nvPr>
            <p:ph type="subTitle" idx="1"/>
          </p:nvPr>
        </p:nvSpPr>
        <p:spPr>
          <a:xfrm>
            <a:off x="284634" y="4459177"/>
            <a:ext cx="4095626" cy="51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1">
                <a:solidFill>
                  <a:schemeClr val="accent1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35" name="Google Shape;435;p49"/>
          <p:cNvSpPr txBox="1">
            <a:spLocks noGrp="1"/>
          </p:cNvSpPr>
          <p:nvPr>
            <p:ph type="ftr" idx="11"/>
          </p:nvPr>
        </p:nvSpPr>
        <p:spPr>
          <a:xfrm>
            <a:off x="4571999" y="4601766"/>
            <a:ext cx="3841958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6" name="Google Shape;436;p49"/>
          <p:cNvSpPr/>
          <p:nvPr/>
        </p:nvSpPr>
        <p:spPr>
          <a:xfrm>
            <a:off x="284634" y="267414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7" name="Google Shape;437;p49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_33% image">
  <p:cSld name="5_Title Slide_33% image">
    <p:spTree>
      <p:nvGrpSpPr>
        <p:cNvPr id="1" name="Shape 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Google Shape;439;p50"/>
          <p:cNvSpPr txBox="1">
            <a:spLocks noGrp="1"/>
          </p:cNvSpPr>
          <p:nvPr>
            <p:ph type="ctrTitle"/>
          </p:nvPr>
        </p:nvSpPr>
        <p:spPr>
          <a:xfrm>
            <a:off x="284634" y="2474369"/>
            <a:ext cx="4095626" cy="120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405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0" name="Google Shape;440;p50"/>
          <p:cNvSpPr txBox="1">
            <a:spLocks noGrp="1"/>
          </p:cNvSpPr>
          <p:nvPr>
            <p:ph type="subTitle" idx="1"/>
          </p:nvPr>
        </p:nvSpPr>
        <p:spPr>
          <a:xfrm>
            <a:off x="284634" y="3684044"/>
            <a:ext cx="4095626" cy="51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1">
                <a:solidFill>
                  <a:schemeClr val="accent1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41" name="Google Shape;441;p50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7683914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2" name="Google Shape;442;p50"/>
          <p:cNvSpPr/>
          <p:nvPr/>
        </p:nvSpPr>
        <p:spPr>
          <a:xfrm>
            <a:off x="284634" y="267414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3" name="Google Shape;443;p50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gray border-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4575478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4568522" y="0"/>
            <a:ext cx="457547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00394" y="402433"/>
            <a:ext cx="8346073" cy="4350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808438"/>
            <a:ext cx="7507655" cy="389333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3" y="1602581"/>
            <a:ext cx="3496586" cy="2757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D2D2D2"/>
                </a:solidFill>
              </a:rPr>
              <a:pPr/>
              <a:t>10/17/2023</a:t>
            </a:fld>
            <a:endParaRPr lang="en-US">
              <a:solidFill>
                <a:srgbClr val="D2D2D2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94853" y="1810123"/>
            <a:ext cx="2435224" cy="56160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5794853" y="1599010"/>
            <a:ext cx="2433494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5794853" y="2797152"/>
            <a:ext cx="2435224" cy="56160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5794853" y="2589014"/>
            <a:ext cx="2435224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5794853" y="3788942"/>
            <a:ext cx="2435224" cy="56160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5794853" y="3579019"/>
            <a:ext cx="2435224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D2D2D2"/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D2D2D2"/>
                </a:solidFill>
              </a:rPr>
              <a:pPr defTabSz="914362"/>
              <a:t>‹#›</a:t>
            </a:fld>
            <a:endParaRPr lang="en-US" sz="500">
              <a:solidFill>
                <a:srgbClr val="D2D2D2"/>
              </a:solidFill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6401" y="4601766"/>
            <a:ext cx="6553200" cy="274320"/>
          </a:xfrm>
          <a:prstGeom prst="rect">
            <a:avLst/>
          </a:prstGeom>
        </p:spPr>
        <p:txBody>
          <a:bodyPr vert="horz" lIns="0" tIns="34298" rIns="0" bIns="0" rtlCol="0" anchor="t" anchorCtr="0"/>
          <a:lstStyle>
            <a:lvl1pPr algn="r">
              <a:lnSpc>
                <a:spcPct val="90000"/>
              </a:lnSpc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5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t Up Slide">
  <p:cSld name="1_Set Up Slide">
    <p:spTree>
      <p:nvGrpSpPr>
        <p:cNvPr id="1" name="Shape 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Google Shape;445;p51"/>
          <p:cNvSpPr/>
          <p:nvPr/>
        </p:nvSpPr>
        <p:spPr>
          <a:xfrm>
            <a:off x="6098255" y="0"/>
            <a:ext cx="3045745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6" name="Google Shape;446;p51"/>
          <p:cNvSpPr txBox="1">
            <a:spLocks noGrp="1"/>
          </p:cNvSpPr>
          <p:nvPr>
            <p:ph type="title"/>
          </p:nvPr>
        </p:nvSpPr>
        <p:spPr>
          <a:xfrm>
            <a:off x="284635" y="395287"/>
            <a:ext cx="2509300" cy="795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27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7" name="Google Shape;447;p51"/>
          <p:cNvSpPr>
            <a:spLocks noGrp="1"/>
          </p:cNvSpPr>
          <p:nvPr>
            <p:ph type="pic" idx="2"/>
          </p:nvPr>
        </p:nvSpPr>
        <p:spPr>
          <a:xfrm>
            <a:off x="3049389" y="0"/>
            <a:ext cx="3045222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48" name="Google Shape;448;p51"/>
          <p:cNvSpPr txBox="1">
            <a:spLocks noGrp="1"/>
          </p:cNvSpPr>
          <p:nvPr>
            <p:ph type="body" idx="1"/>
          </p:nvPr>
        </p:nvSpPr>
        <p:spPr>
          <a:xfrm>
            <a:off x="6373885" y="738283"/>
            <a:ext cx="2373534" cy="4594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2000"/>
              <a:buNone/>
              <a:defRPr sz="1500" b="1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9" name="Google Shape;449;p51"/>
          <p:cNvSpPr txBox="1">
            <a:spLocks noGrp="1"/>
          </p:cNvSpPr>
          <p:nvPr>
            <p:ph type="body" idx="3"/>
          </p:nvPr>
        </p:nvSpPr>
        <p:spPr>
          <a:xfrm>
            <a:off x="284015" y="4046315"/>
            <a:ext cx="2509609" cy="699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b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0" name="Google Shape;450;p51"/>
          <p:cNvSpPr txBox="1">
            <a:spLocks noGrp="1"/>
          </p:cNvSpPr>
          <p:nvPr>
            <p:ph type="body" idx="4"/>
          </p:nvPr>
        </p:nvSpPr>
        <p:spPr>
          <a:xfrm>
            <a:off x="6373885" y="4046315"/>
            <a:ext cx="2498409" cy="699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b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1" name="Google Shape;451;p51"/>
          <p:cNvSpPr txBox="1">
            <a:spLocks noGrp="1"/>
          </p:cNvSpPr>
          <p:nvPr>
            <p:ph type="body" idx="5"/>
          </p:nvPr>
        </p:nvSpPr>
        <p:spPr>
          <a:xfrm>
            <a:off x="284015" y="1485900"/>
            <a:ext cx="2509300" cy="215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1pPr>
            <a:lvl2pPr marL="685800" lvl="1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2pPr>
            <a:lvl3pPr marL="1028700" lvl="2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3pPr>
            <a:lvl4pPr marL="1371600" lvl="3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4pPr>
            <a:lvl5pPr marL="1714500" lvl="4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2" name="Google Shape;452;p51"/>
          <p:cNvSpPr txBox="1">
            <a:spLocks noGrp="1"/>
          </p:cNvSpPr>
          <p:nvPr>
            <p:ph type="body" idx="6"/>
          </p:nvPr>
        </p:nvSpPr>
        <p:spPr>
          <a:xfrm>
            <a:off x="6373885" y="1485900"/>
            <a:ext cx="2037357" cy="2153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1pPr>
            <a:lvl2pPr marL="685800" lvl="1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2pPr>
            <a:lvl3pPr marL="1028700" lvl="2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3pPr>
            <a:lvl4pPr marL="1371600" lvl="3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4pPr>
            <a:lvl5pPr marL="1714500" lvl="4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3" name="Google Shape;453;p51"/>
          <p:cNvSpPr txBox="1"/>
          <p:nvPr/>
        </p:nvSpPr>
        <p:spPr>
          <a:xfrm>
            <a:off x="6262890" y="4993461"/>
            <a:ext cx="2881110" cy="15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©2020 Mayo Foundation for Medical Education and Research  |  slide-</a:t>
            </a:r>
            <a:fld id="{00000000-1234-1234-1234-123412341234}" type="slidenum"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25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4" name="Google Shape;454;p51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5122213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with number">
  <p:cSld name="1_Section with number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52"/>
          <p:cNvSpPr txBox="1">
            <a:spLocks noGrp="1"/>
          </p:cNvSpPr>
          <p:nvPr>
            <p:ph type="ctrTitle"/>
          </p:nvPr>
        </p:nvSpPr>
        <p:spPr>
          <a:xfrm>
            <a:off x="284634" y="3249502"/>
            <a:ext cx="4095626" cy="120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405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7" name="Google Shape;457;p52"/>
          <p:cNvSpPr txBox="1">
            <a:spLocks noGrp="1"/>
          </p:cNvSpPr>
          <p:nvPr>
            <p:ph type="subTitle" idx="1"/>
          </p:nvPr>
        </p:nvSpPr>
        <p:spPr>
          <a:xfrm>
            <a:off x="284634" y="4459177"/>
            <a:ext cx="4095626" cy="51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1">
                <a:solidFill>
                  <a:schemeClr val="accent1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58" name="Google Shape;458;p52"/>
          <p:cNvSpPr txBox="1">
            <a:spLocks noGrp="1"/>
          </p:cNvSpPr>
          <p:nvPr>
            <p:ph type="ftr" idx="11"/>
          </p:nvPr>
        </p:nvSpPr>
        <p:spPr>
          <a:xfrm>
            <a:off x="4571999" y="4601766"/>
            <a:ext cx="3841958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9" name="Google Shape;459;p52"/>
          <p:cNvSpPr/>
          <p:nvPr/>
        </p:nvSpPr>
        <p:spPr>
          <a:xfrm>
            <a:off x="284634" y="267414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0" name="Google Shape;460;p52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1" name="Google Shape;461;p52"/>
          <p:cNvSpPr txBox="1">
            <a:spLocks noGrp="1"/>
          </p:cNvSpPr>
          <p:nvPr>
            <p:ph type="body" idx="3"/>
          </p:nvPr>
        </p:nvSpPr>
        <p:spPr>
          <a:xfrm>
            <a:off x="284634" y="875428"/>
            <a:ext cx="4095626" cy="2689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23900"/>
              <a:buNone/>
              <a:defRPr sz="17925" b="1"/>
            </a:lvl1pPr>
            <a:lvl2pPr marL="685800" lvl="1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4000"/>
              <a:buNone/>
              <a:defRPr sz="3000" b="1"/>
            </a:lvl2pPr>
            <a:lvl3pPr marL="1028700" lvl="2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4000"/>
              <a:buNone/>
              <a:defRPr sz="3000" b="1"/>
            </a:lvl3pPr>
            <a:lvl4pPr marL="1371600" lvl="3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4000"/>
              <a:buNone/>
              <a:defRPr sz="3000" b="1"/>
            </a:lvl4pPr>
            <a:lvl5pPr marL="1714500" lvl="4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4000"/>
              <a:buNone/>
              <a:defRPr sz="3000" b="1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2 column Blue Bottom">
  <p:cSld name="1_2 column Blue Bottom"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Google Shape;463;p53"/>
          <p:cNvSpPr/>
          <p:nvPr/>
        </p:nvSpPr>
        <p:spPr>
          <a:xfrm>
            <a:off x="0" y="2310361"/>
            <a:ext cx="9144000" cy="283313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5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4" name="Google Shape;464;p53"/>
          <p:cNvSpPr txBox="1">
            <a:spLocks noGrp="1"/>
          </p:cNvSpPr>
          <p:nvPr>
            <p:ph type="title"/>
          </p:nvPr>
        </p:nvSpPr>
        <p:spPr>
          <a:xfrm>
            <a:off x="284634" y="402431"/>
            <a:ext cx="4026551" cy="1314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5" name="Google Shape;465;p53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6" name="Google Shape;466;p53"/>
          <p:cNvSpPr txBox="1">
            <a:spLocks noGrp="1"/>
          </p:cNvSpPr>
          <p:nvPr>
            <p:ph type="ftr" idx="11"/>
          </p:nvPr>
        </p:nvSpPr>
        <p:spPr>
          <a:xfrm>
            <a:off x="730042" y="4601766"/>
            <a:ext cx="7683915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7" name="Google Shape;467;p53"/>
          <p:cNvSpPr txBox="1">
            <a:spLocks noGrp="1"/>
          </p:cNvSpPr>
          <p:nvPr>
            <p:ph type="body" idx="1"/>
          </p:nvPr>
        </p:nvSpPr>
        <p:spPr>
          <a:xfrm>
            <a:off x="284634" y="2571750"/>
            <a:ext cx="4026551" cy="4594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2000"/>
              <a:buNone/>
              <a:defRPr sz="1500" b="1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8" name="Google Shape;468;p53"/>
          <p:cNvSpPr txBox="1">
            <a:spLocks noGrp="1"/>
          </p:cNvSpPr>
          <p:nvPr>
            <p:ph type="body" idx="2"/>
          </p:nvPr>
        </p:nvSpPr>
        <p:spPr>
          <a:xfrm>
            <a:off x="284634" y="3296412"/>
            <a:ext cx="4026551" cy="13053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9" name="Google Shape;469;p53"/>
          <p:cNvSpPr txBox="1">
            <a:spLocks noGrp="1"/>
          </p:cNvSpPr>
          <p:nvPr>
            <p:ph type="body" idx="3"/>
          </p:nvPr>
        </p:nvSpPr>
        <p:spPr>
          <a:xfrm>
            <a:off x="4831624" y="3296412"/>
            <a:ext cx="3182941" cy="13053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2476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20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Left Blue, Center Icon">
  <p:cSld name="1_Left Blue, Center Icon"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54"/>
          <p:cNvSpPr/>
          <p:nvPr/>
        </p:nvSpPr>
        <p:spPr>
          <a:xfrm>
            <a:off x="0" y="0"/>
            <a:ext cx="3052605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2" name="Google Shape;472;p54"/>
          <p:cNvSpPr txBox="1">
            <a:spLocks noGrp="1"/>
          </p:cNvSpPr>
          <p:nvPr>
            <p:ph type="title"/>
          </p:nvPr>
        </p:nvSpPr>
        <p:spPr>
          <a:xfrm>
            <a:off x="284635" y="395287"/>
            <a:ext cx="2509300" cy="795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3" name="Google Shape;473;p54"/>
          <p:cNvSpPr>
            <a:spLocks noGrp="1"/>
          </p:cNvSpPr>
          <p:nvPr>
            <p:ph type="pic" idx="2"/>
          </p:nvPr>
        </p:nvSpPr>
        <p:spPr>
          <a:xfrm>
            <a:off x="6098779" y="0"/>
            <a:ext cx="3052366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4" name="Google Shape;474;p54"/>
          <p:cNvSpPr txBox="1">
            <a:spLocks noGrp="1"/>
          </p:cNvSpPr>
          <p:nvPr>
            <p:ph type="body" idx="1"/>
          </p:nvPr>
        </p:nvSpPr>
        <p:spPr>
          <a:xfrm>
            <a:off x="3323519" y="1488281"/>
            <a:ext cx="2496962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5" name="Google Shape;475;p54"/>
          <p:cNvSpPr txBox="1">
            <a:spLocks noGrp="1"/>
          </p:cNvSpPr>
          <p:nvPr>
            <p:ph type="body" idx="3"/>
          </p:nvPr>
        </p:nvSpPr>
        <p:spPr>
          <a:xfrm>
            <a:off x="3323519" y="3552825"/>
            <a:ext cx="2496962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6" name="Google Shape;476;p54"/>
          <p:cNvSpPr txBox="1">
            <a:spLocks noGrp="1"/>
          </p:cNvSpPr>
          <p:nvPr>
            <p:ph type="body" idx="4"/>
          </p:nvPr>
        </p:nvSpPr>
        <p:spPr>
          <a:xfrm>
            <a:off x="284324" y="3552825"/>
            <a:ext cx="2509300" cy="699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7" name="Google Shape;477;p54"/>
          <p:cNvSpPr txBox="1">
            <a:spLocks noGrp="1"/>
          </p:cNvSpPr>
          <p:nvPr>
            <p:ph type="body" idx="5"/>
          </p:nvPr>
        </p:nvSpPr>
        <p:spPr>
          <a:xfrm>
            <a:off x="3323519" y="1678781"/>
            <a:ext cx="2496962" cy="891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8" name="Google Shape;478;p54"/>
          <p:cNvSpPr txBox="1">
            <a:spLocks noGrp="1"/>
          </p:cNvSpPr>
          <p:nvPr>
            <p:ph type="body" idx="6"/>
          </p:nvPr>
        </p:nvSpPr>
        <p:spPr>
          <a:xfrm>
            <a:off x="3323519" y="3754072"/>
            <a:ext cx="2496962" cy="891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9" name="Google Shape;479;p54"/>
          <p:cNvSpPr txBox="1">
            <a:spLocks noGrp="1"/>
          </p:cNvSpPr>
          <p:nvPr>
            <p:ph type="body" idx="7"/>
          </p:nvPr>
        </p:nvSpPr>
        <p:spPr>
          <a:xfrm>
            <a:off x="284634" y="1485900"/>
            <a:ext cx="2509299" cy="1785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1pPr>
            <a:lvl2pPr marL="685800" lvl="1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2pPr>
            <a:lvl3pPr marL="1028700" lvl="2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3pPr>
            <a:lvl4pPr marL="1371600" lvl="3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4pPr>
            <a:lvl5pPr marL="1714500" lvl="4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0" name="Google Shape;480;p54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5122213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50/50 Blue and white">
  <p:cSld name="2_50/50 Blue and white">
    <p:spTree>
      <p:nvGrpSpPr>
        <p:cNvPr id="1" name="Shape 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" name="Google Shape;482;p55"/>
          <p:cNvSpPr/>
          <p:nvPr/>
        </p:nvSpPr>
        <p:spPr>
          <a:xfrm>
            <a:off x="-14291" y="0"/>
            <a:ext cx="4579146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3" name="Google Shape;483;p55"/>
          <p:cNvSpPr txBox="1">
            <a:spLocks noGrp="1"/>
          </p:cNvSpPr>
          <p:nvPr>
            <p:ph type="title"/>
          </p:nvPr>
        </p:nvSpPr>
        <p:spPr>
          <a:xfrm>
            <a:off x="284634" y="2486025"/>
            <a:ext cx="2776069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4" name="Google Shape;484;p55"/>
          <p:cNvSpPr txBox="1">
            <a:spLocks noGrp="1"/>
          </p:cNvSpPr>
          <p:nvPr>
            <p:ph type="body" idx="1"/>
          </p:nvPr>
        </p:nvSpPr>
        <p:spPr>
          <a:xfrm>
            <a:off x="5613092" y="1483519"/>
            <a:ext cx="2496962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5" name="Google Shape;485;p55"/>
          <p:cNvSpPr txBox="1">
            <a:spLocks noGrp="1"/>
          </p:cNvSpPr>
          <p:nvPr>
            <p:ph type="body" idx="2"/>
          </p:nvPr>
        </p:nvSpPr>
        <p:spPr>
          <a:xfrm>
            <a:off x="5613092" y="3431381"/>
            <a:ext cx="2496962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6" name="Google Shape;486;p55"/>
          <p:cNvSpPr txBox="1">
            <a:spLocks noGrp="1"/>
          </p:cNvSpPr>
          <p:nvPr>
            <p:ph type="body" idx="3"/>
          </p:nvPr>
        </p:nvSpPr>
        <p:spPr>
          <a:xfrm>
            <a:off x="5613092" y="1674019"/>
            <a:ext cx="2496962" cy="891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7" name="Google Shape;487;p55"/>
          <p:cNvSpPr txBox="1">
            <a:spLocks noGrp="1"/>
          </p:cNvSpPr>
          <p:nvPr>
            <p:ph type="body" idx="4"/>
          </p:nvPr>
        </p:nvSpPr>
        <p:spPr>
          <a:xfrm>
            <a:off x="5613092" y="3621881"/>
            <a:ext cx="2496962" cy="891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8" name="Google Shape;488;p55"/>
          <p:cNvSpPr txBox="1">
            <a:spLocks noGrp="1"/>
          </p:cNvSpPr>
          <p:nvPr>
            <p:ph type="body" idx="5"/>
          </p:nvPr>
        </p:nvSpPr>
        <p:spPr>
          <a:xfrm>
            <a:off x="284634" y="3431381"/>
            <a:ext cx="3880971" cy="1323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1pPr>
            <a:lvl2pPr marL="685800" lvl="1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2pPr>
            <a:lvl3pPr marL="1028700" lvl="2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3pPr>
            <a:lvl4pPr marL="1371600" lvl="3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4pPr>
            <a:lvl5pPr marL="1714500" lvl="4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9" name="Google Shape;489;p55"/>
          <p:cNvSpPr txBox="1">
            <a:spLocks noGrp="1"/>
          </p:cNvSpPr>
          <p:nvPr>
            <p:ph type="ftr" idx="11"/>
          </p:nvPr>
        </p:nvSpPr>
        <p:spPr>
          <a:xfrm>
            <a:off x="4831624" y="4601766"/>
            <a:ext cx="3915795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3 Large icon divider line">
  <p:cSld name="1_3 Large icon divider line"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p56"/>
          <p:cNvSpPr txBox="1">
            <a:spLocks noGrp="1"/>
          </p:cNvSpPr>
          <p:nvPr>
            <p:ph type="body" idx="1"/>
          </p:nvPr>
        </p:nvSpPr>
        <p:spPr>
          <a:xfrm>
            <a:off x="730519" y="1197769"/>
            <a:ext cx="7682961" cy="1373981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228600" tIns="182875" rIns="228600" bIns="182875" anchor="ctr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2" name="Google Shape;492;p56"/>
          <p:cNvSpPr txBox="1">
            <a:spLocks noGrp="1"/>
          </p:cNvSpPr>
          <p:nvPr>
            <p:ph type="title"/>
          </p:nvPr>
        </p:nvSpPr>
        <p:spPr>
          <a:xfrm>
            <a:off x="730519" y="402432"/>
            <a:ext cx="7682961" cy="440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3" name="Google Shape;493;p56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4" name="Google Shape;494;p56"/>
          <p:cNvSpPr txBox="1">
            <a:spLocks noGrp="1"/>
          </p:cNvSpPr>
          <p:nvPr>
            <p:ph type="body" idx="2"/>
          </p:nvPr>
        </p:nvSpPr>
        <p:spPr>
          <a:xfrm>
            <a:off x="2026947" y="3632597"/>
            <a:ext cx="1371957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5" name="Google Shape;495;p56"/>
          <p:cNvSpPr txBox="1">
            <a:spLocks noGrp="1"/>
          </p:cNvSpPr>
          <p:nvPr>
            <p:ph type="body" idx="3"/>
          </p:nvPr>
        </p:nvSpPr>
        <p:spPr>
          <a:xfrm>
            <a:off x="3886022" y="3632597"/>
            <a:ext cx="1371957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6" name="Google Shape;496;p56"/>
          <p:cNvSpPr txBox="1">
            <a:spLocks noGrp="1"/>
          </p:cNvSpPr>
          <p:nvPr>
            <p:ph type="body" idx="4"/>
          </p:nvPr>
        </p:nvSpPr>
        <p:spPr>
          <a:xfrm>
            <a:off x="5745096" y="3632597"/>
            <a:ext cx="1371957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7" name="Google Shape;497;p56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7683915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8" name="Google Shape;498;p56"/>
          <p:cNvSpPr txBox="1">
            <a:spLocks noGrp="1"/>
          </p:cNvSpPr>
          <p:nvPr>
            <p:ph type="body" idx="5"/>
          </p:nvPr>
        </p:nvSpPr>
        <p:spPr>
          <a:xfrm>
            <a:off x="2026947" y="3828553"/>
            <a:ext cx="1371957" cy="779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400"/>
              <a:buNone/>
              <a:defRPr sz="1050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9" name="Google Shape;499;p56"/>
          <p:cNvSpPr txBox="1">
            <a:spLocks noGrp="1"/>
          </p:cNvSpPr>
          <p:nvPr>
            <p:ph type="body" idx="6"/>
          </p:nvPr>
        </p:nvSpPr>
        <p:spPr>
          <a:xfrm>
            <a:off x="5745096" y="3828553"/>
            <a:ext cx="1371957" cy="779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400"/>
              <a:buNone/>
              <a:defRPr sz="1050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0" name="Google Shape;500;p56"/>
          <p:cNvSpPr txBox="1">
            <a:spLocks noGrp="1"/>
          </p:cNvSpPr>
          <p:nvPr>
            <p:ph type="body" idx="7"/>
          </p:nvPr>
        </p:nvSpPr>
        <p:spPr>
          <a:xfrm>
            <a:off x="3886022" y="3828553"/>
            <a:ext cx="1371957" cy="779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400"/>
              <a:buNone/>
              <a:defRPr sz="105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op half image w_icons">
  <p:cSld name="1_Top half image w_icons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Google Shape;502;p57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3" name="Google Shape;503;p57"/>
          <p:cNvSpPr txBox="1">
            <a:spLocks noGrp="1"/>
          </p:cNvSpPr>
          <p:nvPr>
            <p:ph type="body" idx="1"/>
          </p:nvPr>
        </p:nvSpPr>
        <p:spPr>
          <a:xfrm>
            <a:off x="865215" y="3431381"/>
            <a:ext cx="2057936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4" name="Google Shape;504;p57"/>
          <p:cNvSpPr txBox="1">
            <a:spLocks noGrp="1"/>
          </p:cNvSpPr>
          <p:nvPr>
            <p:ph type="body" idx="2"/>
          </p:nvPr>
        </p:nvSpPr>
        <p:spPr>
          <a:xfrm>
            <a:off x="3543032" y="3431381"/>
            <a:ext cx="2057936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5" name="Google Shape;505;p57"/>
          <p:cNvSpPr txBox="1">
            <a:spLocks noGrp="1"/>
          </p:cNvSpPr>
          <p:nvPr>
            <p:ph type="body" idx="3"/>
          </p:nvPr>
        </p:nvSpPr>
        <p:spPr>
          <a:xfrm>
            <a:off x="6243478" y="3431381"/>
            <a:ext cx="2057936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6" name="Google Shape;506;p57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7" name="Google Shape;507;p57"/>
          <p:cNvSpPr>
            <a:spLocks noGrp="1"/>
          </p:cNvSpPr>
          <p:nvPr>
            <p:ph type="pic" idx="4"/>
          </p:nvPr>
        </p:nvSpPr>
        <p:spPr>
          <a:xfrm>
            <a:off x="0" y="0"/>
            <a:ext cx="9144000" cy="27089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08" name="Google Shape;508;p57"/>
          <p:cNvSpPr txBox="1">
            <a:spLocks noGrp="1"/>
          </p:cNvSpPr>
          <p:nvPr>
            <p:ph type="body" idx="5"/>
          </p:nvPr>
        </p:nvSpPr>
        <p:spPr>
          <a:xfrm>
            <a:off x="865215" y="3626691"/>
            <a:ext cx="2057936" cy="829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" name="Google Shape;509;p57"/>
          <p:cNvSpPr txBox="1">
            <a:spLocks noGrp="1"/>
          </p:cNvSpPr>
          <p:nvPr>
            <p:ph type="body" idx="6"/>
          </p:nvPr>
        </p:nvSpPr>
        <p:spPr>
          <a:xfrm>
            <a:off x="3543032" y="3626691"/>
            <a:ext cx="2057936" cy="829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0" name="Google Shape;510;p57"/>
          <p:cNvSpPr txBox="1">
            <a:spLocks noGrp="1"/>
          </p:cNvSpPr>
          <p:nvPr>
            <p:ph type="body" idx="7"/>
          </p:nvPr>
        </p:nvSpPr>
        <p:spPr>
          <a:xfrm>
            <a:off x="6243478" y="3626691"/>
            <a:ext cx="2057936" cy="8298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Gray left border">
  <p:cSld name="1_Gray left border">
    <p:spTree>
      <p:nvGrpSpPr>
        <p:cNvPr id="1" name="Shape 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Google Shape;512;p58"/>
          <p:cNvSpPr/>
          <p:nvPr/>
        </p:nvSpPr>
        <p:spPr>
          <a:xfrm>
            <a:off x="0" y="1"/>
            <a:ext cx="4311185" cy="51434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3" name="Google Shape;513;p58"/>
          <p:cNvSpPr txBox="1">
            <a:spLocks noGrp="1"/>
          </p:cNvSpPr>
          <p:nvPr>
            <p:ph type="title"/>
          </p:nvPr>
        </p:nvSpPr>
        <p:spPr>
          <a:xfrm>
            <a:off x="284634" y="808436"/>
            <a:ext cx="3425525" cy="409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" name="Google Shape;514;p58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5" name="Google Shape;515;p58"/>
          <p:cNvSpPr txBox="1">
            <a:spLocks noGrp="1"/>
          </p:cNvSpPr>
          <p:nvPr>
            <p:ph type="body" idx="1"/>
          </p:nvPr>
        </p:nvSpPr>
        <p:spPr>
          <a:xfrm>
            <a:off x="6198819" y="719615"/>
            <a:ext cx="221516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6" name="Google Shape;516;p58"/>
          <p:cNvSpPr txBox="1">
            <a:spLocks noGrp="1"/>
          </p:cNvSpPr>
          <p:nvPr>
            <p:ph type="body" idx="2"/>
          </p:nvPr>
        </p:nvSpPr>
        <p:spPr>
          <a:xfrm>
            <a:off x="6198819" y="3552825"/>
            <a:ext cx="221516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7" name="Google Shape;517;p58"/>
          <p:cNvSpPr txBox="1">
            <a:spLocks noGrp="1"/>
          </p:cNvSpPr>
          <p:nvPr>
            <p:ph type="body" idx="3"/>
          </p:nvPr>
        </p:nvSpPr>
        <p:spPr>
          <a:xfrm>
            <a:off x="6198819" y="2131219"/>
            <a:ext cx="221516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8" name="Google Shape;518;p58"/>
          <p:cNvSpPr txBox="1">
            <a:spLocks noGrp="1"/>
          </p:cNvSpPr>
          <p:nvPr>
            <p:ph type="body" idx="4"/>
          </p:nvPr>
        </p:nvSpPr>
        <p:spPr>
          <a:xfrm>
            <a:off x="6197295" y="903923"/>
            <a:ext cx="2216663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9" name="Google Shape;519;p58"/>
          <p:cNvSpPr txBox="1">
            <a:spLocks noGrp="1"/>
          </p:cNvSpPr>
          <p:nvPr>
            <p:ph type="body" idx="5"/>
          </p:nvPr>
        </p:nvSpPr>
        <p:spPr>
          <a:xfrm>
            <a:off x="6197295" y="2321719"/>
            <a:ext cx="2216663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0" name="Google Shape;520;p58"/>
          <p:cNvSpPr txBox="1">
            <a:spLocks noGrp="1"/>
          </p:cNvSpPr>
          <p:nvPr>
            <p:ph type="body" idx="6"/>
          </p:nvPr>
        </p:nvSpPr>
        <p:spPr>
          <a:xfrm>
            <a:off x="6197295" y="3743325"/>
            <a:ext cx="2216663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1" name="Google Shape;521;p58"/>
          <p:cNvSpPr txBox="1">
            <a:spLocks noGrp="1"/>
          </p:cNvSpPr>
          <p:nvPr>
            <p:ph type="body" idx="7"/>
          </p:nvPr>
        </p:nvSpPr>
        <p:spPr>
          <a:xfrm>
            <a:off x="284368" y="3691605"/>
            <a:ext cx="3418990" cy="6446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2" name="Google Shape;522;p58"/>
          <p:cNvSpPr txBox="1">
            <a:spLocks noGrp="1"/>
          </p:cNvSpPr>
          <p:nvPr>
            <p:ph type="body" idx="8"/>
          </p:nvPr>
        </p:nvSpPr>
        <p:spPr>
          <a:xfrm>
            <a:off x="284369" y="1712119"/>
            <a:ext cx="3425525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1pPr>
            <a:lvl2pPr marL="685800" lvl="1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2pPr>
            <a:lvl3pPr marL="1028700" lvl="2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3pPr>
            <a:lvl4pPr marL="1371600" lvl="3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4pPr>
            <a:lvl5pPr marL="1714500" lvl="4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3" name="Google Shape;523;p58"/>
          <p:cNvSpPr txBox="1">
            <a:spLocks noGrp="1"/>
          </p:cNvSpPr>
          <p:nvPr>
            <p:ph type="ftr" idx="11"/>
          </p:nvPr>
        </p:nvSpPr>
        <p:spPr>
          <a:xfrm>
            <a:off x="4831624" y="4601766"/>
            <a:ext cx="3915795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bar with 3 icon bracket">
  <p:cSld name="1_Blue bar with 3 icon bracket">
    <p:spTree>
      <p:nvGrpSpPr>
        <p:cNvPr id="1" name="Shape 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Google Shape;525;p59"/>
          <p:cNvSpPr txBox="1">
            <a:spLocks noGrp="1"/>
          </p:cNvSpPr>
          <p:nvPr>
            <p:ph type="title"/>
          </p:nvPr>
        </p:nvSpPr>
        <p:spPr>
          <a:xfrm>
            <a:off x="284634" y="1197769"/>
            <a:ext cx="1836422" cy="1373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2400" b="1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6" name="Google Shape;526;p59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" name="Google Shape;527;p59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8" name="Google Shape;528;p59"/>
          <p:cNvSpPr txBox="1">
            <a:spLocks noGrp="1"/>
          </p:cNvSpPr>
          <p:nvPr>
            <p:ph type="body" idx="1"/>
          </p:nvPr>
        </p:nvSpPr>
        <p:spPr>
          <a:xfrm>
            <a:off x="6513224" y="856775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59"/>
          <p:cNvSpPr txBox="1">
            <a:spLocks noGrp="1"/>
          </p:cNvSpPr>
          <p:nvPr>
            <p:ph type="body" idx="2"/>
          </p:nvPr>
        </p:nvSpPr>
        <p:spPr>
          <a:xfrm>
            <a:off x="6513224" y="3689985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0" name="Google Shape;530;p59"/>
          <p:cNvSpPr txBox="1">
            <a:spLocks noGrp="1"/>
          </p:cNvSpPr>
          <p:nvPr>
            <p:ph type="body" idx="3"/>
          </p:nvPr>
        </p:nvSpPr>
        <p:spPr>
          <a:xfrm>
            <a:off x="6513224" y="2268379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" name="Google Shape;531;p59"/>
          <p:cNvSpPr txBox="1">
            <a:spLocks noGrp="1"/>
          </p:cNvSpPr>
          <p:nvPr>
            <p:ph type="body" idx="4"/>
          </p:nvPr>
        </p:nvSpPr>
        <p:spPr>
          <a:xfrm>
            <a:off x="6511700" y="1041083"/>
            <a:ext cx="2229431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2" name="Google Shape;532;p59"/>
          <p:cNvSpPr txBox="1">
            <a:spLocks noGrp="1"/>
          </p:cNvSpPr>
          <p:nvPr>
            <p:ph type="body" idx="5"/>
          </p:nvPr>
        </p:nvSpPr>
        <p:spPr>
          <a:xfrm>
            <a:off x="6511700" y="2458879"/>
            <a:ext cx="2229431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3" name="Google Shape;533;p59"/>
          <p:cNvSpPr txBox="1">
            <a:spLocks noGrp="1"/>
          </p:cNvSpPr>
          <p:nvPr>
            <p:ph type="body" idx="6"/>
          </p:nvPr>
        </p:nvSpPr>
        <p:spPr>
          <a:xfrm>
            <a:off x="6511700" y="3880485"/>
            <a:ext cx="2229431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4" name="Google Shape;534;p59"/>
          <p:cNvSpPr txBox="1">
            <a:spLocks noGrp="1"/>
          </p:cNvSpPr>
          <p:nvPr>
            <p:ph type="body" idx="7"/>
          </p:nvPr>
        </p:nvSpPr>
        <p:spPr>
          <a:xfrm>
            <a:off x="2554175" y="1195673"/>
            <a:ext cx="2277449" cy="2235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5" name="Google Shape;535;p59"/>
          <p:cNvSpPr txBox="1">
            <a:spLocks noGrp="1"/>
          </p:cNvSpPr>
          <p:nvPr>
            <p:ph type="body" idx="8"/>
          </p:nvPr>
        </p:nvSpPr>
        <p:spPr>
          <a:xfrm>
            <a:off x="2554175" y="3710273"/>
            <a:ext cx="2277449" cy="10355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bar with 4 icon bracket">
  <p:cSld name="1_Blue bar with 4 icon bracket">
    <p:spTree>
      <p:nvGrpSpPr>
        <p:cNvPr id="1" name="Shape 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Google Shape;537;p60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8" name="Google Shape;538;p60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60"/>
          <p:cNvSpPr txBox="1">
            <a:spLocks noGrp="1"/>
          </p:cNvSpPr>
          <p:nvPr>
            <p:ph type="body" idx="1"/>
          </p:nvPr>
        </p:nvSpPr>
        <p:spPr>
          <a:xfrm>
            <a:off x="6513224" y="693583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0" name="Google Shape;540;p60"/>
          <p:cNvSpPr txBox="1">
            <a:spLocks noGrp="1"/>
          </p:cNvSpPr>
          <p:nvPr>
            <p:ph type="body" idx="2"/>
          </p:nvPr>
        </p:nvSpPr>
        <p:spPr>
          <a:xfrm>
            <a:off x="6513224" y="3812543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1" name="Google Shape;541;p60"/>
          <p:cNvSpPr txBox="1">
            <a:spLocks noGrp="1"/>
          </p:cNvSpPr>
          <p:nvPr>
            <p:ph type="body" idx="3"/>
          </p:nvPr>
        </p:nvSpPr>
        <p:spPr>
          <a:xfrm>
            <a:off x="6513224" y="1733712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2" name="Google Shape;542;p60"/>
          <p:cNvSpPr txBox="1">
            <a:spLocks noGrp="1"/>
          </p:cNvSpPr>
          <p:nvPr>
            <p:ph type="body" idx="4"/>
          </p:nvPr>
        </p:nvSpPr>
        <p:spPr>
          <a:xfrm>
            <a:off x="6513224" y="2773366"/>
            <a:ext cx="2229431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3" name="Google Shape;543;p60"/>
          <p:cNvSpPr txBox="1">
            <a:spLocks noGrp="1"/>
          </p:cNvSpPr>
          <p:nvPr>
            <p:ph type="body" idx="5"/>
          </p:nvPr>
        </p:nvSpPr>
        <p:spPr>
          <a:xfrm>
            <a:off x="2554175" y="1195673"/>
            <a:ext cx="2277449" cy="2235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4" name="Google Shape;544;p60"/>
          <p:cNvSpPr txBox="1">
            <a:spLocks noGrp="1"/>
          </p:cNvSpPr>
          <p:nvPr>
            <p:ph type="body" idx="6"/>
          </p:nvPr>
        </p:nvSpPr>
        <p:spPr>
          <a:xfrm>
            <a:off x="2554175" y="3710273"/>
            <a:ext cx="2277449" cy="10355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5" name="Google Shape;545;p60"/>
          <p:cNvSpPr txBox="1">
            <a:spLocks noGrp="1"/>
          </p:cNvSpPr>
          <p:nvPr>
            <p:ph type="body" idx="7"/>
          </p:nvPr>
        </p:nvSpPr>
        <p:spPr>
          <a:xfrm>
            <a:off x="6511700" y="877891"/>
            <a:ext cx="2229431" cy="5829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6" name="Google Shape;546;p60"/>
          <p:cNvSpPr txBox="1">
            <a:spLocks noGrp="1"/>
          </p:cNvSpPr>
          <p:nvPr>
            <p:ph type="body" idx="8"/>
          </p:nvPr>
        </p:nvSpPr>
        <p:spPr>
          <a:xfrm>
            <a:off x="6511700" y="1925641"/>
            <a:ext cx="2229431" cy="5829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7" name="Google Shape;547;p60"/>
          <p:cNvSpPr txBox="1">
            <a:spLocks noGrp="1"/>
          </p:cNvSpPr>
          <p:nvPr>
            <p:ph type="body" idx="9"/>
          </p:nvPr>
        </p:nvSpPr>
        <p:spPr>
          <a:xfrm>
            <a:off x="6511700" y="4004472"/>
            <a:ext cx="2229431" cy="5829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60"/>
          <p:cNvSpPr txBox="1">
            <a:spLocks noGrp="1"/>
          </p:cNvSpPr>
          <p:nvPr>
            <p:ph type="body" idx="13"/>
          </p:nvPr>
        </p:nvSpPr>
        <p:spPr>
          <a:xfrm>
            <a:off x="6511700" y="2963866"/>
            <a:ext cx="2229431" cy="5829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9" name="Google Shape;549;p60"/>
          <p:cNvSpPr txBox="1">
            <a:spLocks noGrp="1"/>
          </p:cNvSpPr>
          <p:nvPr>
            <p:ph type="title"/>
          </p:nvPr>
        </p:nvSpPr>
        <p:spPr>
          <a:xfrm>
            <a:off x="284634" y="1197769"/>
            <a:ext cx="1836422" cy="1373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2400" b="1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402433"/>
            <a:ext cx="7501144" cy="440531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0045" y="1488282"/>
            <a:ext cx="3577927" cy="293484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1624" y="1488282"/>
            <a:ext cx="3581142" cy="293484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Freeform 8"/>
          <p:cNvSpPr>
            <a:spLocks noChangeAspect="1" noEditPoints="1"/>
          </p:cNvSpPr>
          <p:nvPr userDrawn="1"/>
        </p:nvSpPr>
        <p:spPr bwMode="auto">
          <a:xfrm>
            <a:off x="406109" y="4537472"/>
            <a:ext cx="314387" cy="3429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84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4 Small icon divider line">
  <p:cSld name="1_4 Small icon divider line">
    <p:spTree>
      <p:nvGrpSpPr>
        <p:cNvPr id="1" name="Shape 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" name="Google Shape;551;p61"/>
          <p:cNvSpPr txBox="1">
            <a:spLocks noGrp="1"/>
          </p:cNvSpPr>
          <p:nvPr>
            <p:ph type="body" idx="1"/>
          </p:nvPr>
        </p:nvSpPr>
        <p:spPr>
          <a:xfrm>
            <a:off x="730043" y="1197768"/>
            <a:ext cx="7683914" cy="137398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228600" tIns="182875" rIns="228600" bIns="182875" anchor="ctr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2" name="Google Shape;552;p61"/>
          <p:cNvSpPr txBox="1">
            <a:spLocks noGrp="1"/>
          </p:cNvSpPr>
          <p:nvPr>
            <p:ph type="title"/>
          </p:nvPr>
        </p:nvSpPr>
        <p:spPr>
          <a:xfrm>
            <a:off x="730519" y="402432"/>
            <a:ext cx="7682961" cy="440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3" name="Google Shape;553;p61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4" name="Google Shape;554;p61"/>
          <p:cNvSpPr txBox="1">
            <a:spLocks noGrp="1"/>
          </p:cNvSpPr>
          <p:nvPr>
            <p:ph type="body" idx="2"/>
          </p:nvPr>
        </p:nvSpPr>
        <p:spPr>
          <a:xfrm>
            <a:off x="889603" y="3739162"/>
            <a:ext cx="1574417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5" name="Google Shape;555;p61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7683915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6" name="Google Shape;556;p61"/>
          <p:cNvSpPr txBox="1">
            <a:spLocks noGrp="1"/>
          </p:cNvSpPr>
          <p:nvPr>
            <p:ph type="body" idx="3"/>
          </p:nvPr>
        </p:nvSpPr>
        <p:spPr>
          <a:xfrm>
            <a:off x="2837998" y="3739162"/>
            <a:ext cx="1574417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7" name="Google Shape;557;p61"/>
          <p:cNvSpPr txBox="1">
            <a:spLocks noGrp="1"/>
          </p:cNvSpPr>
          <p:nvPr>
            <p:ph type="body" idx="4"/>
          </p:nvPr>
        </p:nvSpPr>
        <p:spPr>
          <a:xfrm>
            <a:off x="4787559" y="3739162"/>
            <a:ext cx="1574417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8" name="Google Shape;558;p61"/>
          <p:cNvSpPr txBox="1">
            <a:spLocks noGrp="1"/>
          </p:cNvSpPr>
          <p:nvPr>
            <p:ph type="body" idx="5"/>
          </p:nvPr>
        </p:nvSpPr>
        <p:spPr>
          <a:xfrm>
            <a:off x="6709729" y="3739162"/>
            <a:ext cx="1574417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9" name="Google Shape;559;p61"/>
          <p:cNvSpPr txBox="1">
            <a:spLocks noGrp="1"/>
          </p:cNvSpPr>
          <p:nvPr>
            <p:ph type="body" idx="6"/>
          </p:nvPr>
        </p:nvSpPr>
        <p:spPr>
          <a:xfrm>
            <a:off x="886269" y="4019169"/>
            <a:ext cx="1577751" cy="733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0" name="Google Shape;560;p61"/>
          <p:cNvSpPr txBox="1">
            <a:spLocks noGrp="1"/>
          </p:cNvSpPr>
          <p:nvPr>
            <p:ph type="body" idx="7"/>
          </p:nvPr>
        </p:nvSpPr>
        <p:spPr>
          <a:xfrm>
            <a:off x="2834664" y="4019169"/>
            <a:ext cx="1577751" cy="733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1" name="Google Shape;561;p61"/>
          <p:cNvSpPr txBox="1">
            <a:spLocks noGrp="1"/>
          </p:cNvSpPr>
          <p:nvPr>
            <p:ph type="body" idx="8"/>
          </p:nvPr>
        </p:nvSpPr>
        <p:spPr>
          <a:xfrm>
            <a:off x="4784225" y="4019169"/>
            <a:ext cx="1577751" cy="733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2" name="Google Shape;562;p61"/>
          <p:cNvSpPr txBox="1">
            <a:spLocks noGrp="1"/>
          </p:cNvSpPr>
          <p:nvPr>
            <p:ph type="body" idx="9"/>
          </p:nvPr>
        </p:nvSpPr>
        <p:spPr>
          <a:xfrm>
            <a:off x="6706395" y="4019169"/>
            <a:ext cx="1577751" cy="733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meline start">
  <p:cSld name="1_Timeline start"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p62"/>
          <p:cNvSpPr txBox="1">
            <a:spLocks noGrp="1"/>
          </p:cNvSpPr>
          <p:nvPr>
            <p:ph type="title"/>
          </p:nvPr>
        </p:nvSpPr>
        <p:spPr>
          <a:xfrm>
            <a:off x="635277" y="1831507"/>
            <a:ext cx="1326245" cy="106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2400" b="1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5" name="Google Shape;565;p62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" name="Google Shape;566;p62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7" name="Google Shape;567;p62"/>
          <p:cNvSpPr/>
          <p:nvPr/>
        </p:nvSpPr>
        <p:spPr>
          <a:xfrm>
            <a:off x="405770" y="1470392"/>
            <a:ext cx="1785258" cy="1784793"/>
          </a:xfrm>
          <a:prstGeom prst="ellipse">
            <a:avLst/>
          </a:prstGeom>
          <a:noFill/>
          <a:ln w="38100" cap="flat" cmpd="sng">
            <a:solidFill>
              <a:srgbClr val="0057B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5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meline end">
  <p:cSld name="1_Timeline end">
    <p:spTree>
      <p:nvGrpSpPr>
        <p:cNvPr id="1" name="Shape 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" name="Google Shape;569;p63"/>
          <p:cNvSpPr txBox="1">
            <a:spLocks noGrp="1"/>
          </p:cNvSpPr>
          <p:nvPr>
            <p:ph type="title"/>
          </p:nvPr>
        </p:nvSpPr>
        <p:spPr>
          <a:xfrm>
            <a:off x="7199994" y="1831507"/>
            <a:ext cx="1326245" cy="106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2400" b="1" cap="none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0" name="Google Shape;570;p63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1" name="Google Shape;571;p63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2" name="Google Shape;572;p63"/>
          <p:cNvSpPr/>
          <p:nvPr/>
        </p:nvSpPr>
        <p:spPr>
          <a:xfrm>
            <a:off x="6970487" y="1470392"/>
            <a:ext cx="1785258" cy="1784793"/>
          </a:xfrm>
          <a:prstGeom prst="ellipse">
            <a:avLst/>
          </a:prstGeom>
          <a:noFill/>
          <a:ln w="38100" cap="flat" cmpd="sng">
            <a:solidFill>
              <a:srgbClr val="0057B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5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eam member rectangles">
  <p:cSld name="1_Team member rectangles">
    <p:spTree>
      <p:nvGrpSpPr>
        <p:cNvPr id="1" name="Shape 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" name="Google Shape;589;p65"/>
          <p:cNvSpPr txBox="1">
            <a:spLocks noGrp="1"/>
          </p:cNvSpPr>
          <p:nvPr>
            <p:ph type="title"/>
          </p:nvPr>
        </p:nvSpPr>
        <p:spPr>
          <a:xfrm>
            <a:off x="284635" y="402431"/>
            <a:ext cx="2123437" cy="795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0" name="Google Shape;590;p65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1" name="Google Shape;591;p65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2" name="Google Shape;592;p65"/>
          <p:cNvSpPr>
            <a:spLocks noGrp="1"/>
          </p:cNvSpPr>
          <p:nvPr>
            <p:ph type="pic" idx="2"/>
          </p:nvPr>
        </p:nvSpPr>
        <p:spPr>
          <a:xfrm>
            <a:off x="284635" y="1488281"/>
            <a:ext cx="2030782" cy="246888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93" name="Google Shape;593;p65"/>
          <p:cNvSpPr>
            <a:spLocks noGrp="1"/>
          </p:cNvSpPr>
          <p:nvPr>
            <p:ph type="pic" idx="3"/>
          </p:nvPr>
        </p:nvSpPr>
        <p:spPr>
          <a:xfrm>
            <a:off x="2398465" y="1488281"/>
            <a:ext cx="2030782" cy="246888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94" name="Google Shape;594;p65"/>
          <p:cNvSpPr>
            <a:spLocks noGrp="1"/>
          </p:cNvSpPr>
          <p:nvPr>
            <p:ph type="pic" idx="4"/>
          </p:nvPr>
        </p:nvSpPr>
        <p:spPr>
          <a:xfrm>
            <a:off x="4512295" y="1488281"/>
            <a:ext cx="2030782" cy="246888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95" name="Google Shape;595;p65"/>
          <p:cNvSpPr>
            <a:spLocks noGrp="1"/>
          </p:cNvSpPr>
          <p:nvPr>
            <p:ph type="pic" idx="5"/>
          </p:nvPr>
        </p:nvSpPr>
        <p:spPr>
          <a:xfrm>
            <a:off x="6626124" y="1488281"/>
            <a:ext cx="2030782" cy="246888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96" name="Google Shape;596;p65"/>
          <p:cNvSpPr txBox="1">
            <a:spLocks noGrp="1"/>
          </p:cNvSpPr>
          <p:nvPr>
            <p:ph type="body" idx="1"/>
          </p:nvPr>
        </p:nvSpPr>
        <p:spPr>
          <a:xfrm>
            <a:off x="2679604" y="402431"/>
            <a:ext cx="5734353" cy="795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b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7" name="Google Shape;597;p65"/>
          <p:cNvSpPr txBox="1">
            <a:spLocks noGrp="1"/>
          </p:cNvSpPr>
          <p:nvPr>
            <p:ph type="body" idx="6"/>
          </p:nvPr>
        </p:nvSpPr>
        <p:spPr>
          <a:xfrm>
            <a:off x="284634" y="3967163"/>
            <a:ext cx="2030781" cy="78867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137150" rIns="45700" bIns="4570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8" name="Google Shape;598;p65"/>
          <p:cNvSpPr txBox="1">
            <a:spLocks noGrp="1"/>
          </p:cNvSpPr>
          <p:nvPr>
            <p:ph type="body" idx="7"/>
          </p:nvPr>
        </p:nvSpPr>
        <p:spPr>
          <a:xfrm>
            <a:off x="2397272" y="3967163"/>
            <a:ext cx="2030782" cy="78867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137150" rIns="45700" bIns="4570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9" name="Google Shape;599;p65"/>
          <p:cNvSpPr txBox="1">
            <a:spLocks noGrp="1"/>
          </p:cNvSpPr>
          <p:nvPr>
            <p:ph type="body" idx="8"/>
          </p:nvPr>
        </p:nvSpPr>
        <p:spPr>
          <a:xfrm>
            <a:off x="4509912" y="3967163"/>
            <a:ext cx="2030782" cy="78867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137150" rIns="45700" bIns="4570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0" name="Google Shape;600;p65"/>
          <p:cNvSpPr txBox="1">
            <a:spLocks noGrp="1"/>
          </p:cNvSpPr>
          <p:nvPr>
            <p:ph type="body" idx="9"/>
          </p:nvPr>
        </p:nvSpPr>
        <p:spPr>
          <a:xfrm>
            <a:off x="6622551" y="3967163"/>
            <a:ext cx="2030782" cy="78867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45700" tIns="137150" rIns="45700" bIns="4570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usiness Goals">
  <p:cSld name="1_Business Goals"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Google Shape;602;p66"/>
          <p:cNvSpPr txBox="1">
            <a:spLocks noGrp="1"/>
          </p:cNvSpPr>
          <p:nvPr>
            <p:ph type="title"/>
          </p:nvPr>
        </p:nvSpPr>
        <p:spPr>
          <a:xfrm>
            <a:off x="730519" y="402432"/>
            <a:ext cx="7682961" cy="440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p66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4" name="Google Shape;604;p66"/>
          <p:cNvSpPr txBox="1">
            <a:spLocks noGrp="1"/>
          </p:cNvSpPr>
          <p:nvPr>
            <p:ph type="body" idx="1"/>
          </p:nvPr>
        </p:nvSpPr>
        <p:spPr>
          <a:xfrm>
            <a:off x="1142107" y="3553425"/>
            <a:ext cx="1575608" cy="240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2000"/>
              <a:buFont typeface="Arial"/>
              <a:buNone/>
              <a:defRPr sz="150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5" name="Google Shape;605;p66"/>
          <p:cNvSpPr txBox="1">
            <a:spLocks noGrp="1"/>
          </p:cNvSpPr>
          <p:nvPr>
            <p:ph type="body" idx="2"/>
          </p:nvPr>
        </p:nvSpPr>
        <p:spPr>
          <a:xfrm>
            <a:off x="1142107" y="3300413"/>
            <a:ext cx="1575608" cy="240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400"/>
              <a:buFont typeface="Arial"/>
              <a:buNone/>
              <a:defRPr sz="1050" b="1">
                <a:solidFill>
                  <a:schemeClr val="lt1"/>
                </a:solidFill>
              </a:defRPr>
            </a:lvl1pPr>
            <a:lvl2pPr marL="685800" lvl="1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2pPr>
            <a:lvl3pPr marL="1028700" lvl="2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3pPr>
            <a:lvl4pPr marL="1371600" lvl="3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4pPr>
            <a:lvl5pPr marL="1714500" lvl="4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6" name="Google Shape;606;p66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7" name="Google Shape;607;p66"/>
          <p:cNvSpPr txBox="1">
            <a:spLocks noGrp="1"/>
          </p:cNvSpPr>
          <p:nvPr>
            <p:ph type="subTitle" idx="3"/>
          </p:nvPr>
        </p:nvSpPr>
        <p:spPr>
          <a:xfrm>
            <a:off x="730519" y="842963"/>
            <a:ext cx="7682961" cy="354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350" b="1">
                <a:solidFill>
                  <a:schemeClr val="lt2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08" name="Google Shape;608;p66"/>
          <p:cNvSpPr txBox="1">
            <a:spLocks noGrp="1"/>
          </p:cNvSpPr>
          <p:nvPr>
            <p:ph type="body" idx="4"/>
          </p:nvPr>
        </p:nvSpPr>
        <p:spPr>
          <a:xfrm>
            <a:off x="3651094" y="3553425"/>
            <a:ext cx="1575608" cy="240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2000"/>
              <a:buFont typeface="Arial"/>
              <a:buNone/>
              <a:defRPr sz="150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9" name="Google Shape;609;p66"/>
          <p:cNvSpPr txBox="1">
            <a:spLocks noGrp="1"/>
          </p:cNvSpPr>
          <p:nvPr>
            <p:ph type="body" idx="5"/>
          </p:nvPr>
        </p:nvSpPr>
        <p:spPr>
          <a:xfrm>
            <a:off x="3651094" y="3300413"/>
            <a:ext cx="1575608" cy="240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400"/>
              <a:buFont typeface="Arial"/>
              <a:buNone/>
              <a:defRPr sz="1050" b="1">
                <a:solidFill>
                  <a:schemeClr val="lt1"/>
                </a:solidFill>
              </a:defRPr>
            </a:lvl1pPr>
            <a:lvl2pPr marL="685800" lvl="1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2pPr>
            <a:lvl3pPr marL="1028700" lvl="2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3pPr>
            <a:lvl4pPr marL="1371600" lvl="3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4pPr>
            <a:lvl5pPr marL="1714500" lvl="4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0" name="Google Shape;610;p66"/>
          <p:cNvSpPr txBox="1">
            <a:spLocks noGrp="1"/>
          </p:cNvSpPr>
          <p:nvPr>
            <p:ph type="body" idx="6"/>
          </p:nvPr>
        </p:nvSpPr>
        <p:spPr>
          <a:xfrm>
            <a:off x="6160082" y="3553425"/>
            <a:ext cx="1575608" cy="240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2000"/>
              <a:buFont typeface="Arial"/>
              <a:buNone/>
              <a:defRPr sz="150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1" name="Google Shape;611;p66"/>
          <p:cNvSpPr txBox="1">
            <a:spLocks noGrp="1"/>
          </p:cNvSpPr>
          <p:nvPr>
            <p:ph type="body" idx="7"/>
          </p:nvPr>
        </p:nvSpPr>
        <p:spPr>
          <a:xfrm>
            <a:off x="6160082" y="3300413"/>
            <a:ext cx="1575608" cy="240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400"/>
              <a:buFont typeface="Arial"/>
              <a:buNone/>
              <a:defRPr sz="1050" b="1">
                <a:solidFill>
                  <a:schemeClr val="lt1"/>
                </a:solidFill>
              </a:defRPr>
            </a:lvl1pPr>
            <a:lvl2pPr marL="685800" lvl="1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2pPr>
            <a:lvl3pPr marL="1028700" lvl="2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3pPr>
            <a:lvl4pPr marL="1371600" lvl="3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4pPr>
            <a:lvl5pPr marL="1714500" lvl="4" indent="-171450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chemeClr val="lt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" name="Google Shape;612;p66"/>
          <p:cNvSpPr txBox="1">
            <a:spLocks noGrp="1"/>
          </p:cNvSpPr>
          <p:nvPr>
            <p:ph type="body" idx="8"/>
          </p:nvPr>
        </p:nvSpPr>
        <p:spPr>
          <a:xfrm>
            <a:off x="1142107" y="1488281"/>
            <a:ext cx="6859786" cy="6858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228600" tIns="182875" rIns="228600" bIns="182875" anchor="ctr" anchorCtr="0">
            <a:noAutofit/>
          </a:bodyPr>
          <a:lstStyle>
            <a:lvl1pPr marL="342900" lvl="0" indent="-171450" algn="ctr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3" name="Google Shape;613;p66"/>
          <p:cNvSpPr txBox="1">
            <a:spLocks noGrp="1"/>
          </p:cNvSpPr>
          <p:nvPr>
            <p:ph type="body" idx="9"/>
          </p:nvPr>
        </p:nvSpPr>
        <p:spPr>
          <a:xfrm>
            <a:off x="1142106" y="2457450"/>
            <a:ext cx="1577751" cy="720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4" name="Google Shape;614;p66"/>
          <p:cNvSpPr txBox="1">
            <a:spLocks noGrp="1"/>
          </p:cNvSpPr>
          <p:nvPr>
            <p:ph type="body" idx="13"/>
          </p:nvPr>
        </p:nvSpPr>
        <p:spPr>
          <a:xfrm>
            <a:off x="3648951" y="2457450"/>
            <a:ext cx="1577751" cy="720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" name="Google Shape;615;p66"/>
          <p:cNvSpPr txBox="1">
            <a:spLocks noGrp="1"/>
          </p:cNvSpPr>
          <p:nvPr>
            <p:ph type="body" idx="14"/>
          </p:nvPr>
        </p:nvSpPr>
        <p:spPr>
          <a:xfrm>
            <a:off x="6157938" y="2457450"/>
            <a:ext cx="1577751" cy="720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usiness Goals Small Icons">
  <p:cSld name="1_Business Goals Small Icons">
    <p:spTree>
      <p:nvGrpSpPr>
        <p:cNvPr id="1" name="Shape 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7" name="Google Shape;617;p67"/>
          <p:cNvSpPr txBox="1">
            <a:spLocks noGrp="1"/>
          </p:cNvSpPr>
          <p:nvPr>
            <p:ph type="title"/>
          </p:nvPr>
        </p:nvSpPr>
        <p:spPr>
          <a:xfrm>
            <a:off x="730519" y="402432"/>
            <a:ext cx="7682961" cy="440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8" name="Google Shape;618;p67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p67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0" name="Google Shape;620;p67"/>
          <p:cNvSpPr txBox="1">
            <a:spLocks noGrp="1"/>
          </p:cNvSpPr>
          <p:nvPr>
            <p:ph type="subTitle" idx="1"/>
          </p:nvPr>
        </p:nvSpPr>
        <p:spPr>
          <a:xfrm>
            <a:off x="730519" y="842963"/>
            <a:ext cx="7682961" cy="354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350" b="1">
                <a:solidFill>
                  <a:schemeClr val="lt2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21" name="Google Shape;621;p67"/>
          <p:cNvSpPr txBox="1">
            <a:spLocks noGrp="1"/>
          </p:cNvSpPr>
          <p:nvPr>
            <p:ph type="body" idx="2"/>
          </p:nvPr>
        </p:nvSpPr>
        <p:spPr>
          <a:xfrm>
            <a:off x="730806" y="1488185"/>
            <a:ext cx="3841195" cy="10835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2" name="Google Shape;622;p67"/>
          <p:cNvSpPr txBox="1">
            <a:spLocks noGrp="1"/>
          </p:cNvSpPr>
          <p:nvPr>
            <p:ph type="body" idx="3"/>
          </p:nvPr>
        </p:nvSpPr>
        <p:spPr>
          <a:xfrm>
            <a:off x="5578733" y="3964018"/>
            <a:ext cx="2835224" cy="7818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3" name="Google Shape;623;p67"/>
          <p:cNvSpPr txBox="1">
            <a:spLocks noGrp="1"/>
          </p:cNvSpPr>
          <p:nvPr>
            <p:ph type="body" idx="4"/>
          </p:nvPr>
        </p:nvSpPr>
        <p:spPr>
          <a:xfrm>
            <a:off x="1437376" y="2979354"/>
            <a:ext cx="3134624" cy="1618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mage left third">
  <p:cSld name="1_Image left third">
    <p:spTree>
      <p:nvGrpSpPr>
        <p:cNvPr id="1" name="Shape 6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" name="Google Shape;625;p68"/>
          <p:cNvSpPr/>
          <p:nvPr/>
        </p:nvSpPr>
        <p:spPr>
          <a:xfrm>
            <a:off x="3045697" y="0"/>
            <a:ext cx="3060228" cy="51435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6" name="Google Shape;626;p68"/>
          <p:cNvSpPr>
            <a:spLocks noGrp="1"/>
          </p:cNvSpPr>
          <p:nvPr>
            <p:ph type="pic" idx="2"/>
          </p:nvPr>
        </p:nvSpPr>
        <p:spPr>
          <a:xfrm>
            <a:off x="0" y="0"/>
            <a:ext cx="3060703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27" name="Google Shape;627;p68"/>
          <p:cNvSpPr txBox="1">
            <a:spLocks noGrp="1"/>
          </p:cNvSpPr>
          <p:nvPr>
            <p:ph type="body" idx="1"/>
          </p:nvPr>
        </p:nvSpPr>
        <p:spPr>
          <a:xfrm>
            <a:off x="6373886" y="402431"/>
            <a:ext cx="2040072" cy="397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3200"/>
              <a:buFont typeface="Arial"/>
              <a:buNone/>
              <a:defRPr sz="2400" b="1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8" name="Google Shape;628;p68"/>
          <p:cNvSpPr txBox="1"/>
          <p:nvPr/>
        </p:nvSpPr>
        <p:spPr>
          <a:xfrm>
            <a:off x="6373886" y="1746697"/>
            <a:ext cx="2073418" cy="558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0" anchor="b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r>
              <a:rPr lang="en-US" sz="2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TO EDIT TITLE STYLE</a:t>
            </a:r>
            <a:endParaRPr sz="24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9" name="Google Shape;629;p68"/>
          <p:cNvSpPr txBox="1">
            <a:spLocks noGrp="1"/>
          </p:cNvSpPr>
          <p:nvPr>
            <p:ph type="body" idx="3"/>
          </p:nvPr>
        </p:nvSpPr>
        <p:spPr>
          <a:xfrm>
            <a:off x="6373886" y="1517000"/>
            <a:ext cx="2040072" cy="397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3200"/>
              <a:buFont typeface="Arial"/>
              <a:buNone/>
              <a:defRPr sz="2400" b="1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0" name="Google Shape;630;p68"/>
          <p:cNvSpPr txBox="1">
            <a:spLocks noGrp="1"/>
          </p:cNvSpPr>
          <p:nvPr>
            <p:ph type="body" idx="4"/>
          </p:nvPr>
        </p:nvSpPr>
        <p:spPr>
          <a:xfrm>
            <a:off x="6373886" y="2637346"/>
            <a:ext cx="2040072" cy="397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3200"/>
              <a:buFont typeface="Arial"/>
              <a:buNone/>
              <a:defRPr sz="2400" b="1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1" name="Google Shape;631;p68"/>
          <p:cNvSpPr txBox="1">
            <a:spLocks noGrp="1"/>
          </p:cNvSpPr>
          <p:nvPr>
            <p:ph type="body" idx="5"/>
          </p:nvPr>
        </p:nvSpPr>
        <p:spPr>
          <a:xfrm>
            <a:off x="6373886" y="3757858"/>
            <a:ext cx="2040072" cy="397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3200"/>
              <a:buFont typeface="Arial"/>
              <a:buNone/>
              <a:defRPr sz="2400" b="1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2" name="Google Shape;632;p68"/>
          <p:cNvSpPr txBox="1">
            <a:spLocks noGrp="1"/>
          </p:cNvSpPr>
          <p:nvPr>
            <p:ph type="body" idx="6"/>
          </p:nvPr>
        </p:nvSpPr>
        <p:spPr>
          <a:xfrm>
            <a:off x="3323519" y="402431"/>
            <a:ext cx="2496962" cy="795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25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3200"/>
              <a:buFont typeface="Arial"/>
              <a:buNone/>
              <a:defRPr sz="240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" name="Google Shape;633;p68"/>
          <p:cNvSpPr txBox="1">
            <a:spLocks noGrp="1"/>
          </p:cNvSpPr>
          <p:nvPr>
            <p:ph type="body" idx="7"/>
          </p:nvPr>
        </p:nvSpPr>
        <p:spPr>
          <a:xfrm>
            <a:off x="6373886" y="802481"/>
            <a:ext cx="2034350" cy="480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4" name="Google Shape;634;p68"/>
          <p:cNvSpPr txBox="1">
            <a:spLocks noGrp="1"/>
          </p:cNvSpPr>
          <p:nvPr>
            <p:ph type="body" idx="8"/>
          </p:nvPr>
        </p:nvSpPr>
        <p:spPr>
          <a:xfrm>
            <a:off x="6373886" y="3036112"/>
            <a:ext cx="2034350" cy="480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5" name="Google Shape;635;p68"/>
          <p:cNvSpPr txBox="1">
            <a:spLocks noGrp="1"/>
          </p:cNvSpPr>
          <p:nvPr>
            <p:ph type="body" idx="9"/>
          </p:nvPr>
        </p:nvSpPr>
        <p:spPr>
          <a:xfrm>
            <a:off x="6373886" y="4156624"/>
            <a:ext cx="2034350" cy="480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6" name="Google Shape;636;p68"/>
          <p:cNvSpPr txBox="1">
            <a:spLocks noGrp="1"/>
          </p:cNvSpPr>
          <p:nvPr>
            <p:ph type="body" idx="13"/>
          </p:nvPr>
        </p:nvSpPr>
        <p:spPr>
          <a:xfrm>
            <a:off x="6373886" y="1915768"/>
            <a:ext cx="2034350" cy="480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7" name="Google Shape;637;p68"/>
          <p:cNvSpPr txBox="1">
            <a:spLocks noGrp="1"/>
          </p:cNvSpPr>
          <p:nvPr>
            <p:ph type="body" idx="14"/>
          </p:nvPr>
        </p:nvSpPr>
        <p:spPr>
          <a:xfrm>
            <a:off x="3662530" y="1610139"/>
            <a:ext cx="2157951" cy="3140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8" name="Google Shape;638;p68"/>
          <p:cNvSpPr txBox="1">
            <a:spLocks noGrp="1"/>
          </p:cNvSpPr>
          <p:nvPr>
            <p:ph type="ftr" idx="11"/>
          </p:nvPr>
        </p:nvSpPr>
        <p:spPr>
          <a:xfrm>
            <a:off x="3060703" y="4601766"/>
            <a:ext cx="568671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usiness Goals Large Icons">
  <p:cSld name="1_Business Goals Large Icons">
    <p:spTree>
      <p:nvGrpSpPr>
        <p:cNvPr id="1" name="Shape 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0" name="Google Shape;640;p69"/>
          <p:cNvSpPr txBox="1">
            <a:spLocks noGrp="1"/>
          </p:cNvSpPr>
          <p:nvPr>
            <p:ph type="title"/>
          </p:nvPr>
        </p:nvSpPr>
        <p:spPr>
          <a:xfrm>
            <a:off x="730519" y="402432"/>
            <a:ext cx="7682961" cy="440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" name="Google Shape;641;p69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2" name="Google Shape;642;p69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3" name="Google Shape;643;p69"/>
          <p:cNvSpPr txBox="1">
            <a:spLocks noGrp="1"/>
          </p:cNvSpPr>
          <p:nvPr>
            <p:ph type="subTitle" idx="1"/>
          </p:nvPr>
        </p:nvSpPr>
        <p:spPr>
          <a:xfrm>
            <a:off x="730519" y="842963"/>
            <a:ext cx="7682961" cy="354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350" b="1">
                <a:solidFill>
                  <a:schemeClr val="lt2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44" name="Google Shape;644;p69"/>
          <p:cNvSpPr txBox="1">
            <a:spLocks noGrp="1"/>
          </p:cNvSpPr>
          <p:nvPr>
            <p:ph type="body" idx="2"/>
          </p:nvPr>
        </p:nvSpPr>
        <p:spPr>
          <a:xfrm>
            <a:off x="782268" y="2040807"/>
            <a:ext cx="1179883" cy="8023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400"/>
              <a:buNone/>
              <a:defRPr sz="105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5" name="Google Shape;645;p69"/>
          <p:cNvSpPr txBox="1">
            <a:spLocks noGrp="1"/>
          </p:cNvSpPr>
          <p:nvPr>
            <p:ph type="body" idx="3"/>
          </p:nvPr>
        </p:nvSpPr>
        <p:spPr>
          <a:xfrm>
            <a:off x="2354341" y="2040807"/>
            <a:ext cx="1179883" cy="8023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400"/>
              <a:buNone/>
              <a:defRPr sz="105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6" name="Google Shape;646;p69"/>
          <p:cNvSpPr txBox="1">
            <a:spLocks noGrp="1"/>
          </p:cNvSpPr>
          <p:nvPr>
            <p:ph type="body" idx="4"/>
          </p:nvPr>
        </p:nvSpPr>
        <p:spPr>
          <a:xfrm>
            <a:off x="782268" y="3604628"/>
            <a:ext cx="1179883" cy="8023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400"/>
              <a:buNone/>
              <a:defRPr sz="1050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7" name="Google Shape;647;p69"/>
          <p:cNvSpPr txBox="1">
            <a:spLocks noGrp="1"/>
          </p:cNvSpPr>
          <p:nvPr>
            <p:ph type="body" idx="5"/>
          </p:nvPr>
        </p:nvSpPr>
        <p:spPr>
          <a:xfrm>
            <a:off x="2354341" y="3604628"/>
            <a:ext cx="1179883" cy="8023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400"/>
              <a:buNone/>
              <a:defRPr sz="105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8" name="Google Shape;648;p69"/>
          <p:cNvSpPr txBox="1">
            <a:spLocks noGrp="1"/>
          </p:cNvSpPr>
          <p:nvPr>
            <p:ph type="body" idx="6"/>
          </p:nvPr>
        </p:nvSpPr>
        <p:spPr>
          <a:xfrm>
            <a:off x="4572001" y="1488185"/>
            <a:ext cx="3832254" cy="10835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9" name="Google Shape;649;p69"/>
          <p:cNvSpPr txBox="1">
            <a:spLocks noGrp="1"/>
          </p:cNvSpPr>
          <p:nvPr>
            <p:ph type="body" idx="7"/>
          </p:nvPr>
        </p:nvSpPr>
        <p:spPr>
          <a:xfrm>
            <a:off x="4712375" y="2839593"/>
            <a:ext cx="3701582" cy="1770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trategy Vision Icons">
  <p:cSld name="1_Strategy Vision Icons">
    <p:spTree>
      <p:nvGrpSpPr>
        <p:cNvPr id="1" name="Shape 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1" name="Google Shape;651;p70"/>
          <p:cNvSpPr txBox="1">
            <a:spLocks noGrp="1"/>
          </p:cNvSpPr>
          <p:nvPr>
            <p:ph type="title"/>
          </p:nvPr>
        </p:nvSpPr>
        <p:spPr>
          <a:xfrm>
            <a:off x="730519" y="402432"/>
            <a:ext cx="7682961" cy="440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2" name="Google Shape;652;p70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3" name="Google Shape;653;p70"/>
          <p:cNvSpPr txBox="1">
            <a:spLocks noGrp="1"/>
          </p:cNvSpPr>
          <p:nvPr>
            <p:ph type="body" idx="1"/>
          </p:nvPr>
        </p:nvSpPr>
        <p:spPr>
          <a:xfrm>
            <a:off x="2195743" y="2873981"/>
            <a:ext cx="1918597" cy="240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4" name="Google Shape;654;p70"/>
          <p:cNvSpPr txBox="1">
            <a:spLocks noGrp="1"/>
          </p:cNvSpPr>
          <p:nvPr>
            <p:ph type="ftr" idx="11"/>
          </p:nvPr>
        </p:nvSpPr>
        <p:spPr>
          <a:xfrm>
            <a:off x="730042" y="4601766"/>
            <a:ext cx="8017377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5" name="Google Shape;655;p70"/>
          <p:cNvSpPr txBox="1">
            <a:spLocks noGrp="1"/>
          </p:cNvSpPr>
          <p:nvPr>
            <p:ph type="subTitle" idx="2"/>
          </p:nvPr>
        </p:nvSpPr>
        <p:spPr>
          <a:xfrm>
            <a:off x="730519" y="842963"/>
            <a:ext cx="7682961" cy="354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350" b="1">
                <a:solidFill>
                  <a:schemeClr val="lt2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656" name="Google Shape;656;p70"/>
          <p:cNvSpPr/>
          <p:nvPr/>
        </p:nvSpPr>
        <p:spPr>
          <a:xfrm>
            <a:off x="0" y="1488282"/>
            <a:ext cx="9144000" cy="108346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7" name="Google Shape;657;p70"/>
          <p:cNvSpPr txBox="1">
            <a:spLocks noGrp="1"/>
          </p:cNvSpPr>
          <p:nvPr>
            <p:ph type="body" idx="3"/>
          </p:nvPr>
        </p:nvSpPr>
        <p:spPr>
          <a:xfrm>
            <a:off x="2195743" y="3869882"/>
            <a:ext cx="1918597" cy="240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8" name="Google Shape;658;p70"/>
          <p:cNvSpPr txBox="1">
            <a:spLocks noGrp="1"/>
          </p:cNvSpPr>
          <p:nvPr>
            <p:ph type="body" idx="4"/>
          </p:nvPr>
        </p:nvSpPr>
        <p:spPr>
          <a:xfrm>
            <a:off x="5699850" y="2873981"/>
            <a:ext cx="1918597" cy="240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9" name="Google Shape;659;p70"/>
          <p:cNvSpPr txBox="1">
            <a:spLocks noGrp="1"/>
          </p:cNvSpPr>
          <p:nvPr>
            <p:ph type="body" idx="5"/>
          </p:nvPr>
        </p:nvSpPr>
        <p:spPr>
          <a:xfrm>
            <a:off x="5699850" y="3869882"/>
            <a:ext cx="1918597" cy="2400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Font typeface="Arial"/>
              <a:buNone/>
              <a:defRPr sz="1350" b="1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0" name="Google Shape;660;p70"/>
          <p:cNvSpPr txBox="1">
            <a:spLocks noGrp="1"/>
          </p:cNvSpPr>
          <p:nvPr>
            <p:ph type="body" idx="6"/>
          </p:nvPr>
        </p:nvSpPr>
        <p:spPr>
          <a:xfrm>
            <a:off x="728852" y="1604176"/>
            <a:ext cx="4102772" cy="851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ctr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1" name="Google Shape;661;p70"/>
          <p:cNvSpPr txBox="1">
            <a:spLocks noGrp="1"/>
          </p:cNvSpPr>
          <p:nvPr>
            <p:ph type="body" idx="7"/>
          </p:nvPr>
        </p:nvSpPr>
        <p:spPr>
          <a:xfrm>
            <a:off x="6105925" y="1652588"/>
            <a:ext cx="2308033" cy="2492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2" name="Google Shape;662;p70"/>
          <p:cNvSpPr txBox="1">
            <a:spLocks noGrp="1"/>
          </p:cNvSpPr>
          <p:nvPr>
            <p:ph type="body" idx="8"/>
          </p:nvPr>
        </p:nvSpPr>
        <p:spPr>
          <a:xfrm>
            <a:off x="2195742" y="3119789"/>
            <a:ext cx="1920740" cy="480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3" name="Google Shape;663;p70"/>
          <p:cNvSpPr txBox="1">
            <a:spLocks noGrp="1"/>
          </p:cNvSpPr>
          <p:nvPr>
            <p:ph type="body" idx="9"/>
          </p:nvPr>
        </p:nvSpPr>
        <p:spPr>
          <a:xfrm>
            <a:off x="2195742" y="4115690"/>
            <a:ext cx="1920740" cy="480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4" name="Google Shape;664;p70"/>
          <p:cNvSpPr txBox="1">
            <a:spLocks noGrp="1"/>
          </p:cNvSpPr>
          <p:nvPr>
            <p:ph type="body" idx="13"/>
          </p:nvPr>
        </p:nvSpPr>
        <p:spPr>
          <a:xfrm>
            <a:off x="5699849" y="3119789"/>
            <a:ext cx="1920740" cy="480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5" name="Google Shape;665;p70"/>
          <p:cNvSpPr txBox="1">
            <a:spLocks noGrp="1"/>
          </p:cNvSpPr>
          <p:nvPr>
            <p:ph type="body" idx="14"/>
          </p:nvPr>
        </p:nvSpPr>
        <p:spPr>
          <a:xfrm>
            <a:off x="5699849" y="4115690"/>
            <a:ext cx="1920740" cy="480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" name="Google Shape;666;p70"/>
          <p:cNvSpPr txBox="1">
            <a:spLocks noGrp="1"/>
          </p:cNvSpPr>
          <p:nvPr>
            <p:ph type="body" idx="15"/>
          </p:nvPr>
        </p:nvSpPr>
        <p:spPr>
          <a:xfrm>
            <a:off x="6105925" y="2158199"/>
            <a:ext cx="2308033" cy="2492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42900" lvl="0" indent="-171450" algn="l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ue white border with image">
  <p:cSld name="1_Blue white border with image">
    <p:spTree>
      <p:nvGrpSpPr>
        <p:cNvPr id="1" name="Shape 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8" name="Google Shape;668;p71"/>
          <p:cNvSpPr>
            <a:spLocks noGrp="1"/>
          </p:cNvSpPr>
          <p:nvPr>
            <p:ph type="pic" idx="2"/>
          </p:nvPr>
        </p:nvSpPr>
        <p:spPr>
          <a:xfrm>
            <a:off x="4571999" y="0"/>
            <a:ext cx="4572000" cy="51435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69" name="Google Shape;669;p71"/>
          <p:cNvSpPr txBox="1">
            <a:spLocks noGrp="1"/>
          </p:cNvSpPr>
          <p:nvPr>
            <p:ph type="title"/>
          </p:nvPr>
        </p:nvSpPr>
        <p:spPr>
          <a:xfrm>
            <a:off x="284634" y="1197233"/>
            <a:ext cx="3744923" cy="15835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0" name="Google Shape;670;p71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1" name="Google Shape;671;p71"/>
          <p:cNvSpPr txBox="1">
            <a:spLocks noGrp="1"/>
          </p:cNvSpPr>
          <p:nvPr>
            <p:ph type="body" idx="1"/>
          </p:nvPr>
        </p:nvSpPr>
        <p:spPr>
          <a:xfrm>
            <a:off x="283230" y="4318469"/>
            <a:ext cx="3097189" cy="7024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2" name="Google Shape;672;p71"/>
          <p:cNvSpPr txBox="1">
            <a:spLocks noGrp="1"/>
          </p:cNvSpPr>
          <p:nvPr>
            <p:ph type="body" idx="3"/>
          </p:nvPr>
        </p:nvSpPr>
        <p:spPr>
          <a:xfrm>
            <a:off x="283229" y="2780765"/>
            <a:ext cx="3744923" cy="17830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1pPr>
            <a:lvl2pPr marL="685800" lvl="1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2pPr>
            <a:lvl3pPr marL="1028700" lvl="2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3pPr>
            <a:lvl4pPr marL="1371600" lvl="3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4pPr>
            <a:lvl5pPr marL="1714500" lvl="4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3" name="Google Shape;673;p71"/>
          <p:cNvSpPr txBox="1">
            <a:spLocks noGrp="1"/>
          </p:cNvSpPr>
          <p:nvPr>
            <p:ph type="ftr" idx="11"/>
          </p:nvPr>
        </p:nvSpPr>
        <p:spPr>
          <a:xfrm>
            <a:off x="4831624" y="4601766"/>
            <a:ext cx="3915795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with individual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0044" y="2215753"/>
            <a:ext cx="3402454" cy="47148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idx="12"/>
          </p:nvPr>
        </p:nvSpPr>
        <p:spPr>
          <a:xfrm>
            <a:off x="730044" y="1982393"/>
            <a:ext cx="3402454" cy="221456"/>
          </a:xfrm>
        </p:spPr>
        <p:txBody>
          <a:bodyPr anchor="t" anchorCtr="0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730044" y="1197771"/>
            <a:ext cx="7496936" cy="366712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sz="half" idx="18"/>
          </p:nvPr>
        </p:nvSpPr>
        <p:spPr>
          <a:xfrm>
            <a:off x="4831625" y="2215753"/>
            <a:ext cx="3402454" cy="47148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19"/>
          </p:nvPr>
        </p:nvSpPr>
        <p:spPr>
          <a:xfrm>
            <a:off x="4831625" y="1982393"/>
            <a:ext cx="3402454" cy="221456"/>
          </a:xfrm>
        </p:spPr>
        <p:txBody>
          <a:bodyPr anchor="t" anchorCtr="0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half" idx="20"/>
          </p:nvPr>
        </p:nvSpPr>
        <p:spPr>
          <a:xfrm>
            <a:off x="4831625" y="3173016"/>
            <a:ext cx="3402454" cy="47148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21"/>
          </p:nvPr>
        </p:nvSpPr>
        <p:spPr>
          <a:xfrm>
            <a:off x="4831625" y="2939656"/>
            <a:ext cx="3402454" cy="221456"/>
          </a:xfrm>
        </p:spPr>
        <p:txBody>
          <a:bodyPr anchor="t" anchorCtr="0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half" idx="22"/>
          </p:nvPr>
        </p:nvSpPr>
        <p:spPr>
          <a:xfrm>
            <a:off x="4831625" y="4130278"/>
            <a:ext cx="3402454" cy="47148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23"/>
          </p:nvPr>
        </p:nvSpPr>
        <p:spPr>
          <a:xfrm>
            <a:off x="4831625" y="3896918"/>
            <a:ext cx="3402454" cy="221456"/>
          </a:xfrm>
        </p:spPr>
        <p:txBody>
          <a:bodyPr anchor="t" anchorCtr="0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sz="half" idx="24"/>
          </p:nvPr>
        </p:nvSpPr>
        <p:spPr>
          <a:xfrm>
            <a:off x="730044" y="3173016"/>
            <a:ext cx="3402454" cy="47148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5"/>
          </p:nvPr>
        </p:nvSpPr>
        <p:spPr>
          <a:xfrm>
            <a:off x="730044" y="2939656"/>
            <a:ext cx="3402454" cy="221456"/>
          </a:xfrm>
        </p:spPr>
        <p:txBody>
          <a:bodyPr anchor="t" anchorCtr="0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26"/>
          </p:nvPr>
        </p:nvSpPr>
        <p:spPr>
          <a:xfrm>
            <a:off x="730044" y="4130278"/>
            <a:ext cx="3402454" cy="47148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27"/>
          </p:nvPr>
        </p:nvSpPr>
        <p:spPr>
          <a:xfrm>
            <a:off x="730044" y="3896918"/>
            <a:ext cx="3402454" cy="221456"/>
          </a:xfrm>
        </p:spPr>
        <p:txBody>
          <a:bodyPr anchor="t" anchorCtr="0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83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WOT Analysis Icon Left">
  <p:cSld name="1_SWOT Analysis Icon Left">
    <p:spTree>
      <p:nvGrpSpPr>
        <p:cNvPr id="1" name="Shape 6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" name="Google Shape;675;p72"/>
          <p:cNvSpPr>
            <a:spLocks noGrp="1"/>
          </p:cNvSpPr>
          <p:nvPr>
            <p:ph type="pic" idx="2"/>
          </p:nvPr>
        </p:nvSpPr>
        <p:spPr>
          <a:xfrm>
            <a:off x="1191" y="0"/>
            <a:ext cx="4567760" cy="51435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76" name="Google Shape;676;p72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7" name="Google Shape;677;p72"/>
          <p:cNvSpPr txBox="1">
            <a:spLocks noGrp="1"/>
          </p:cNvSpPr>
          <p:nvPr>
            <p:ph type="ftr" idx="11"/>
          </p:nvPr>
        </p:nvSpPr>
        <p:spPr>
          <a:xfrm>
            <a:off x="1705500" y="4601766"/>
            <a:ext cx="7041920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8" name="Google Shape;678;p72"/>
          <p:cNvSpPr txBox="1">
            <a:spLocks noGrp="1"/>
          </p:cNvSpPr>
          <p:nvPr>
            <p:ph type="body" idx="1"/>
          </p:nvPr>
        </p:nvSpPr>
        <p:spPr>
          <a:xfrm>
            <a:off x="4842008" y="4050507"/>
            <a:ext cx="3843482" cy="7024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9" name="Google Shape;679;p72"/>
          <p:cNvSpPr txBox="1">
            <a:spLocks noGrp="1"/>
          </p:cNvSpPr>
          <p:nvPr>
            <p:ph type="title"/>
          </p:nvPr>
        </p:nvSpPr>
        <p:spPr>
          <a:xfrm>
            <a:off x="4843533" y="402241"/>
            <a:ext cx="3841958" cy="795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" name="Google Shape;680;p72"/>
          <p:cNvSpPr txBox="1">
            <a:spLocks noGrp="1"/>
          </p:cNvSpPr>
          <p:nvPr>
            <p:ph type="body" idx="3"/>
          </p:nvPr>
        </p:nvSpPr>
        <p:spPr>
          <a:xfrm>
            <a:off x="4842008" y="1197769"/>
            <a:ext cx="3841958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2000"/>
              <a:buNone/>
              <a:defRPr sz="1500" b="1">
                <a:solidFill>
                  <a:srgbClr val="0057B8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1" name="Google Shape;681;p72"/>
          <p:cNvSpPr txBox="1">
            <a:spLocks noGrp="1"/>
          </p:cNvSpPr>
          <p:nvPr>
            <p:ph type="body" idx="4"/>
          </p:nvPr>
        </p:nvSpPr>
        <p:spPr>
          <a:xfrm>
            <a:off x="4842008" y="1618123"/>
            <a:ext cx="3841958" cy="2151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1pPr>
            <a:lvl2pPr marL="685800" lvl="1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2pPr>
            <a:lvl3pPr marL="1028700" lvl="2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3pPr>
            <a:lvl4pPr marL="1371600" lvl="3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4pPr>
            <a:lvl5pPr marL="1714500" lvl="4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SWOT Analysis Icon Right">
  <p:cSld name="2_SWOT Analysis Icon Right">
    <p:spTree>
      <p:nvGrpSpPr>
        <p:cNvPr id="1" name="Shape 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3" name="Google Shape;683;p73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84" name="Google Shape;684;p73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5" name="Google Shape;685;p73"/>
          <p:cNvSpPr txBox="1">
            <a:spLocks noGrp="1"/>
          </p:cNvSpPr>
          <p:nvPr>
            <p:ph type="body" idx="1"/>
          </p:nvPr>
        </p:nvSpPr>
        <p:spPr>
          <a:xfrm>
            <a:off x="283110" y="4050507"/>
            <a:ext cx="4028076" cy="7024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6" name="Google Shape;686;p73"/>
          <p:cNvSpPr txBox="1">
            <a:spLocks noGrp="1"/>
          </p:cNvSpPr>
          <p:nvPr>
            <p:ph type="title"/>
          </p:nvPr>
        </p:nvSpPr>
        <p:spPr>
          <a:xfrm>
            <a:off x="284634" y="402241"/>
            <a:ext cx="4026551" cy="795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7" name="Google Shape;687;p73"/>
          <p:cNvSpPr txBox="1">
            <a:spLocks noGrp="1"/>
          </p:cNvSpPr>
          <p:nvPr>
            <p:ph type="body" idx="3"/>
          </p:nvPr>
        </p:nvSpPr>
        <p:spPr>
          <a:xfrm>
            <a:off x="283110" y="1197769"/>
            <a:ext cx="4026551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2000"/>
              <a:buNone/>
              <a:defRPr sz="1500" b="1">
                <a:solidFill>
                  <a:srgbClr val="0057B8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8" name="Google Shape;688;p73"/>
          <p:cNvSpPr txBox="1">
            <a:spLocks noGrp="1"/>
          </p:cNvSpPr>
          <p:nvPr>
            <p:ph type="body" idx="4"/>
          </p:nvPr>
        </p:nvSpPr>
        <p:spPr>
          <a:xfrm>
            <a:off x="283110" y="1618123"/>
            <a:ext cx="4026551" cy="2151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1pPr>
            <a:lvl2pPr marL="685800" lvl="1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2pPr>
            <a:lvl3pPr marL="1028700" lvl="2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3pPr>
            <a:lvl4pPr marL="1371600" lvl="3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4pPr>
            <a:lvl5pPr marL="1714500" lvl="4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9" name="Google Shape;689;p73"/>
          <p:cNvSpPr txBox="1"/>
          <p:nvPr/>
        </p:nvSpPr>
        <p:spPr>
          <a:xfrm>
            <a:off x="6262890" y="4993461"/>
            <a:ext cx="2881110" cy="15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25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2020 Mayo Foundation for Medical Education and Research  |  slide-</a:t>
            </a:r>
            <a:fld id="{00000000-1234-1234-1234-123412341234}" type="slidenum">
              <a:rPr lang="en-US" sz="525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25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0" name="Google Shape;690;p73"/>
          <p:cNvSpPr txBox="1">
            <a:spLocks noGrp="1"/>
          </p:cNvSpPr>
          <p:nvPr>
            <p:ph type="ftr" idx="11"/>
          </p:nvPr>
        </p:nvSpPr>
        <p:spPr>
          <a:xfrm>
            <a:off x="1705500" y="4601766"/>
            <a:ext cx="7041920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WOT with circles">
  <p:cSld name="1_SWOT with circles">
    <p:spTree>
      <p:nvGrpSpPr>
        <p:cNvPr id="1" name="Shape 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" name="Google Shape;692;p74"/>
          <p:cNvSpPr txBox="1">
            <a:spLocks noGrp="1"/>
          </p:cNvSpPr>
          <p:nvPr>
            <p:ph type="title"/>
          </p:nvPr>
        </p:nvSpPr>
        <p:spPr>
          <a:xfrm>
            <a:off x="730519" y="402432"/>
            <a:ext cx="7682961" cy="440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3" name="Google Shape;693;p74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4" name="Google Shape;694;p74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" name="Google Shape;695;p74"/>
          <p:cNvSpPr txBox="1">
            <a:spLocks noGrp="1"/>
          </p:cNvSpPr>
          <p:nvPr>
            <p:ph type="body" idx="1"/>
          </p:nvPr>
        </p:nvSpPr>
        <p:spPr>
          <a:xfrm>
            <a:off x="729447" y="4071937"/>
            <a:ext cx="7685105" cy="6810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171450" algn="ctr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>
                <a:solidFill>
                  <a:schemeClr val="l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6" name="Google Shape;696;p74"/>
          <p:cNvSpPr txBox="1">
            <a:spLocks noGrp="1"/>
          </p:cNvSpPr>
          <p:nvPr>
            <p:ph type="body" idx="2"/>
          </p:nvPr>
        </p:nvSpPr>
        <p:spPr>
          <a:xfrm>
            <a:off x="6933071" y="2350674"/>
            <a:ext cx="1714947" cy="265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None/>
              <a:defRPr sz="1350" b="1" cap="none">
                <a:solidFill>
                  <a:srgbClr val="000000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7" name="Google Shape;697;p74"/>
          <p:cNvSpPr txBox="1">
            <a:spLocks noGrp="1"/>
          </p:cNvSpPr>
          <p:nvPr>
            <p:ph type="body" idx="3"/>
          </p:nvPr>
        </p:nvSpPr>
        <p:spPr>
          <a:xfrm>
            <a:off x="498364" y="2306083"/>
            <a:ext cx="1714947" cy="258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None/>
              <a:defRPr sz="1350" b="1" cap="none">
                <a:solidFill>
                  <a:srgbClr val="000000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8" name="Google Shape;698;p74"/>
          <p:cNvSpPr txBox="1">
            <a:spLocks noGrp="1"/>
          </p:cNvSpPr>
          <p:nvPr>
            <p:ph type="body" idx="4"/>
          </p:nvPr>
        </p:nvSpPr>
        <p:spPr>
          <a:xfrm>
            <a:off x="2643267" y="2350675"/>
            <a:ext cx="1714947" cy="258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None/>
              <a:defRPr sz="1350" b="1" cap="none">
                <a:solidFill>
                  <a:srgbClr val="000000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9" name="Google Shape;699;p74"/>
          <p:cNvSpPr txBox="1">
            <a:spLocks noGrp="1"/>
          </p:cNvSpPr>
          <p:nvPr>
            <p:ph type="body" idx="5"/>
          </p:nvPr>
        </p:nvSpPr>
        <p:spPr>
          <a:xfrm>
            <a:off x="4788169" y="2350675"/>
            <a:ext cx="1714947" cy="258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ctr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None/>
              <a:defRPr sz="1350" b="1" cap="none">
                <a:solidFill>
                  <a:srgbClr val="000000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0" name="Google Shape;700;p74"/>
          <p:cNvSpPr txBox="1">
            <a:spLocks noGrp="1"/>
          </p:cNvSpPr>
          <p:nvPr>
            <p:ph type="body" idx="6"/>
          </p:nvPr>
        </p:nvSpPr>
        <p:spPr>
          <a:xfrm>
            <a:off x="601261" y="2656071"/>
            <a:ext cx="1509153" cy="960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1" name="Google Shape;701;p74"/>
          <p:cNvSpPr txBox="1">
            <a:spLocks noGrp="1"/>
          </p:cNvSpPr>
          <p:nvPr>
            <p:ph type="body" idx="7"/>
          </p:nvPr>
        </p:nvSpPr>
        <p:spPr>
          <a:xfrm>
            <a:off x="2746164" y="2656071"/>
            <a:ext cx="1509153" cy="960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2" name="Google Shape;702;p74"/>
          <p:cNvSpPr txBox="1">
            <a:spLocks noGrp="1"/>
          </p:cNvSpPr>
          <p:nvPr>
            <p:ph type="body" idx="8"/>
          </p:nvPr>
        </p:nvSpPr>
        <p:spPr>
          <a:xfrm>
            <a:off x="4891066" y="2656071"/>
            <a:ext cx="1509153" cy="960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3" name="Google Shape;703;p74"/>
          <p:cNvSpPr txBox="1">
            <a:spLocks noGrp="1"/>
          </p:cNvSpPr>
          <p:nvPr>
            <p:ph type="body" idx="9"/>
          </p:nvPr>
        </p:nvSpPr>
        <p:spPr>
          <a:xfrm>
            <a:off x="7035968" y="2656071"/>
            <a:ext cx="1509153" cy="960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ctr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Medical Imagery Text Center">
  <p:cSld name="1_Medical Imagery Text Center">
    <p:spTree>
      <p:nvGrpSpPr>
        <p:cNvPr id="1" name="Shape 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" name="Google Shape;705;p75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6" name="Google Shape;706;p75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7" name="Google Shape;707;p75"/>
          <p:cNvSpPr/>
          <p:nvPr/>
        </p:nvSpPr>
        <p:spPr>
          <a:xfrm>
            <a:off x="2803414" y="612252"/>
            <a:ext cx="1869815" cy="399837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5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8" name="Google Shape;708;p75"/>
          <p:cNvSpPr>
            <a:spLocks noGrp="1"/>
          </p:cNvSpPr>
          <p:nvPr>
            <p:ph type="pic" idx="2"/>
          </p:nvPr>
        </p:nvSpPr>
        <p:spPr>
          <a:xfrm>
            <a:off x="728852" y="611187"/>
            <a:ext cx="1920740" cy="1920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9" name="Google Shape;709;p75"/>
          <p:cNvSpPr>
            <a:spLocks noGrp="1"/>
          </p:cNvSpPr>
          <p:nvPr>
            <p:ph type="pic" idx="3"/>
          </p:nvPr>
        </p:nvSpPr>
        <p:spPr>
          <a:xfrm>
            <a:off x="728852" y="2690383"/>
            <a:ext cx="1920740" cy="1920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10" name="Google Shape;710;p75"/>
          <p:cNvSpPr>
            <a:spLocks noGrp="1"/>
          </p:cNvSpPr>
          <p:nvPr>
            <p:ph type="pic" idx="4"/>
          </p:nvPr>
        </p:nvSpPr>
        <p:spPr>
          <a:xfrm>
            <a:off x="4831624" y="611187"/>
            <a:ext cx="3582333" cy="399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11" name="Google Shape;711;p75"/>
          <p:cNvSpPr txBox="1">
            <a:spLocks noGrp="1"/>
          </p:cNvSpPr>
          <p:nvPr>
            <p:ph type="body" idx="1"/>
          </p:nvPr>
        </p:nvSpPr>
        <p:spPr>
          <a:xfrm>
            <a:off x="2983745" y="939404"/>
            <a:ext cx="1509153" cy="258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None/>
              <a:defRPr sz="1350" b="1" cap="none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2" name="Google Shape;712;p75"/>
          <p:cNvSpPr txBox="1">
            <a:spLocks noGrp="1"/>
          </p:cNvSpPr>
          <p:nvPr>
            <p:ph type="body" idx="5"/>
          </p:nvPr>
        </p:nvSpPr>
        <p:spPr>
          <a:xfrm>
            <a:off x="2983745" y="2882504"/>
            <a:ext cx="1509153" cy="258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lvl="0" indent="-171450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None/>
              <a:defRPr sz="1350" b="1" cap="none">
                <a:solidFill>
                  <a:schemeClr val="dk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3" name="Google Shape;713;p75"/>
          <p:cNvSpPr txBox="1">
            <a:spLocks noGrp="1"/>
          </p:cNvSpPr>
          <p:nvPr>
            <p:ph type="body" idx="6"/>
          </p:nvPr>
        </p:nvSpPr>
        <p:spPr>
          <a:xfrm>
            <a:off x="2983745" y="3263306"/>
            <a:ext cx="1509153" cy="960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1pPr>
            <a:lvl2pPr marL="685800" lvl="1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2pPr>
            <a:lvl3pPr marL="1028700" lvl="2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3pPr>
            <a:lvl4pPr marL="1371600" lvl="3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4pPr>
            <a:lvl5pPr marL="1714500" lvl="4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4" name="Google Shape;714;p75"/>
          <p:cNvSpPr txBox="1">
            <a:spLocks noGrp="1"/>
          </p:cNvSpPr>
          <p:nvPr>
            <p:ph type="body" idx="7"/>
          </p:nvPr>
        </p:nvSpPr>
        <p:spPr>
          <a:xfrm>
            <a:off x="2983745" y="1320206"/>
            <a:ext cx="1509153" cy="960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1pPr>
            <a:lvl2pPr marL="685800" lvl="1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2pPr>
            <a:lvl3pPr marL="1028700" lvl="2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3pPr>
            <a:lvl4pPr marL="1371600" lvl="3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4pPr>
            <a:lvl5pPr marL="1714500" lvl="4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Medical Imagery Text Left">
  <p:cSld name="1_Medical Imagery Text Left">
    <p:spTree>
      <p:nvGrpSpPr>
        <p:cNvPr id="1" name="Shape 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" name="Google Shape;716;p76"/>
          <p:cNvSpPr txBox="1">
            <a:spLocks noGrp="1"/>
          </p:cNvSpPr>
          <p:nvPr>
            <p:ph type="title"/>
          </p:nvPr>
        </p:nvSpPr>
        <p:spPr>
          <a:xfrm>
            <a:off x="284635" y="395287"/>
            <a:ext cx="2509300" cy="10929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7" name="Google Shape;717;p76"/>
          <p:cNvSpPr txBox="1">
            <a:spLocks noGrp="1"/>
          </p:cNvSpPr>
          <p:nvPr>
            <p:ph type="body" idx="1"/>
          </p:nvPr>
        </p:nvSpPr>
        <p:spPr>
          <a:xfrm>
            <a:off x="284324" y="3893344"/>
            <a:ext cx="2509300" cy="852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171450" algn="l">
              <a:lnSpc>
                <a:spcPct val="114000"/>
              </a:lnSpc>
              <a:spcBef>
                <a:spcPts val="1125"/>
              </a:spcBef>
              <a:spcAft>
                <a:spcPts val="0"/>
              </a:spcAft>
              <a:buSzPts val="1600"/>
              <a:buNone/>
              <a:defRPr sz="1200" b="1" i="0">
                <a:solidFill>
                  <a:schemeClr val="accent1"/>
                </a:solidFill>
              </a:defRPr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8" name="Google Shape;718;p76"/>
          <p:cNvSpPr>
            <a:spLocks noGrp="1"/>
          </p:cNvSpPr>
          <p:nvPr>
            <p:ph type="pic" idx="2"/>
          </p:nvPr>
        </p:nvSpPr>
        <p:spPr>
          <a:xfrm>
            <a:off x="3060703" y="912495"/>
            <a:ext cx="1749246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19" name="Google Shape;719;p76"/>
          <p:cNvSpPr>
            <a:spLocks noGrp="1"/>
          </p:cNvSpPr>
          <p:nvPr>
            <p:ph type="pic" idx="3"/>
          </p:nvPr>
        </p:nvSpPr>
        <p:spPr>
          <a:xfrm>
            <a:off x="4862707" y="912495"/>
            <a:ext cx="1749246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20" name="Google Shape;720;p76"/>
          <p:cNvSpPr>
            <a:spLocks noGrp="1"/>
          </p:cNvSpPr>
          <p:nvPr>
            <p:ph type="pic" idx="4"/>
          </p:nvPr>
        </p:nvSpPr>
        <p:spPr>
          <a:xfrm>
            <a:off x="6664711" y="912495"/>
            <a:ext cx="1749246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21" name="Google Shape;721;p76"/>
          <p:cNvSpPr txBox="1">
            <a:spLocks noGrp="1"/>
          </p:cNvSpPr>
          <p:nvPr>
            <p:ph type="body" idx="5"/>
          </p:nvPr>
        </p:nvSpPr>
        <p:spPr>
          <a:xfrm>
            <a:off x="284348" y="1621632"/>
            <a:ext cx="2509300" cy="199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1pPr>
            <a:lvl2pPr marL="685800" lvl="1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2pPr>
            <a:lvl3pPr marL="1028700" lvl="2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3pPr>
            <a:lvl4pPr marL="1371600" lvl="3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4pPr>
            <a:lvl5pPr marL="1714500" lvl="4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600"/>
              <a:buChar char="•"/>
              <a:defRPr sz="1200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2" name="Google Shape;722;p76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Content_Graph right">
  <p:cSld name="1_Two Content_Graph right"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77"/>
          <p:cNvSpPr txBox="1">
            <a:spLocks noGrp="1"/>
          </p:cNvSpPr>
          <p:nvPr>
            <p:ph type="body" idx="1"/>
          </p:nvPr>
        </p:nvSpPr>
        <p:spPr>
          <a:xfrm>
            <a:off x="4831624" y="1488281"/>
            <a:ext cx="3581142" cy="29348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Char char="•"/>
              <a:defRPr sz="135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5pPr>
            <a:lvl6pPr marL="2057400" lvl="5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6pPr>
            <a:lvl7pPr marL="2400300" lvl="6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7pPr>
            <a:lvl8pPr marL="2743200" lvl="7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8pPr>
            <a:lvl9pPr marL="3086100" lvl="8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9pPr>
          </a:lstStyle>
          <a:p>
            <a:endParaRPr/>
          </a:p>
        </p:txBody>
      </p:sp>
      <p:sp>
        <p:nvSpPr>
          <p:cNvPr id="725" name="Google Shape;725;p77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6" name="Google Shape;726;p77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7" name="Google Shape;727;p77"/>
          <p:cNvSpPr txBox="1">
            <a:spLocks noGrp="1"/>
          </p:cNvSpPr>
          <p:nvPr>
            <p:ph type="title"/>
          </p:nvPr>
        </p:nvSpPr>
        <p:spPr>
          <a:xfrm>
            <a:off x="284634" y="395287"/>
            <a:ext cx="3737000" cy="1092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8" name="Google Shape;728;p77"/>
          <p:cNvSpPr txBox="1">
            <a:spLocks noGrp="1"/>
          </p:cNvSpPr>
          <p:nvPr>
            <p:ph type="body" idx="2"/>
          </p:nvPr>
        </p:nvSpPr>
        <p:spPr>
          <a:xfrm>
            <a:off x="284550" y="2125693"/>
            <a:ext cx="3737000" cy="22974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1pPr>
            <a:lvl2pPr marL="685800" lvl="1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2pPr>
            <a:lvl3pPr marL="1028700" lvl="2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3pPr>
            <a:lvl4pPr marL="1371600" lvl="3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4pPr>
            <a:lvl5pPr marL="1714500" lvl="4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Content_Graph left">
  <p:cSld name="1_Two Content_Graph left">
    <p:spTree>
      <p:nvGrpSpPr>
        <p:cNvPr id="1" name="Shape 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" name="Google Shape;730;p78"/>
          <p:cNvSpPr txBox="1">
            <a:spLocks noGrp="1"/>
          </p:cNvSpPr>
          <p:nvPr>
            <p:ph type="body" idx="1"/>
          </p:nvPr>
        </p:nvSpPr>
        <p:spPr>
          <a:xfrm>
            <a:off x="724089" y="1197769"/>
            <a:ext cx="3581142" cy="3216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Char char="•"/>
              <a:defRPr sz="135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5pPr>
            <a:lvl6pPr marL="2057400" lvl="5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6pPr>
            <a:lvl7pPr marL="2400300" lvl="6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7pPr>
            <a:lvl8pPr marL="2743200" lvl="7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8pPr>
            <a:lvl9pPr marL="3086100" lvl="8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9pPr>
          </a:lstStyle>
          <a:p>
            <a:endParaRPr/>
          </a:p>
        </p:txBody>
      </p:sp>
      <p:sp>
        <p:nvSpPr>
          <p:cNvPr id="731" name="Google Shape;731;p78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2" name="Google Shape;732;p78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p78"/>
          <p:cNvSpPr txBox="1">
            <a:spLocks noGrp="1"/>
          </p:cNvSpPr>
          <p:nvPr>
            <p:ph type="title"/>
          </p:nvPr>
        </p:nvSpPr>
        <p:spPr>
          <a:xfrm>
            <a:off x="5119173" y="395287"/>
            <a:ext cx="3293650" cy="1092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4" name="Google Shape;734;p78"/>
          <p:cNvSpPr txBox="1">
            <a:spLocks noGrp="1"/>
          </p:cNvSpPr>
          <p:nvPr>
            <p:ph type="body" idx="2"/>
          </p:nvPr>
        </p:nvSpPr>
        <p:spPr>
          <a:xfrm>
            <a:off x="5121260" y="2125693"/>
            <a:ext cx="3292697" cy="22974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1pPr>
            <a:lvl2pPr marL="685800" lvl="1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2pPr>
            <a:lvl3pPr marL="1028700" lvl="2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3pPr>
            <a:lvl4pPr marL="1371600" lvl="3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4pPr>
            <a:lvl5pPr marL="1714500" lvl="4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Content_Graph left (Tall)">
  <p:cSld name="1_Two Content_Graph left (Tall)">
    <p:spTree>
      <p:nvGrpSpPr>
        <p:cNvPr id="1" name="Shape 7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" name="Google Shape;736;p79"/>
          <p:cNvSpPr txBox="1">
            <a:spLocks noGrp="1"/>
          </p:cNvSpPr>
          <p:nvPr>
            <p:ph type="body" idx="1"/>
          </p:nvPr>
        </p:nvSpPr>
        <p:spPr>
          <a:xfrm>
            <a:off x="724089" y="402431"/>
            <a:ext cx="3581142" cy="41981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Char char="•"/>
              <a:defRPr sz="135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5pPr>
            <a:lvl6pPr marL="2057400" lvl="5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6pPr>
            <a:lvl7pPr marL="2400300" lvl="6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7pPr>
            <a:lvl8pPr marL="2743200" lvl="7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8pPr>
            <a:lvl9pPr marL="3086100" lvl="8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9pPr>
          </a:lstStyle>
          <a:p>
            <a:endParaRPr/>
          </a:p>
        </p:txBody>
      </p:sp>
      <p:sp>
        <p:nvSpPr>
          <p:cNvPr id="737" name="Google Shape;737;p79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8" name="Google Shape;738;p79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9" name="Google Shape;739;p79"/>
          <p:cNvSpPr txBox="1">
            <a:spLocks noGrp="1"/>
          </p:cNvSpPr>
          <p:nvPr>
            <p:ph type="title"/>
          </p:nvPr>
        </p:nvSpPr>
        <p:spPr>
          <a:xfrm>
            <a:off x="5119173" y="395287"/>
            <a:ext cx="3293650" cy="1092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0" name="Google Shape;740;p79"/>
          <p:cNvSpPr txBox="1">
            <a:spLocks noGrp="1"/>
          </p:cNvSpPr>
          <p:nvPr>
            <p:ph type="body" idx="2"/>
          </p:nvPr>
        </p:nvSpPr>
        <p:spPr>
          <a:xfrm>
            <a:off x="5121260" y="2125693"/>
            <a:ext cx="3292697" cy="22974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1pPr>
            <a:lvl2pPr marL="685800" lvl="1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2pPr>
            <a:lvl3pPr marL="1028700" lvl="2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3pPr>
            <a:lvl4pPr marL="1371600" lvl="3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4pPr>
            <a:lvl5pPr marL="1714500" lvl="4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nect">
  <p:cSld name="1_Connect">
    <p:spTree>
      <p:nvGrpSpPr>
        <p:cNvPr id="1" name="Shape 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2" name="Google Shape;742;p80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3" name="Google Shape;743;p80"/>
          <p:cNvSpPr>
            <a:spLocks noGrp="1"/>
          </p:cNvSpPr>
          <p:nvPr>
            <p:ph type="pic" idx="2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White Thank You">
  <p:cSld name="1_White Thank You">
    <p:spTree>
      <p:nvGrpSpPr>
        <p:cNvPr id="1" name="Shape 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p81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6" name="Google Shape;746;p81"/>
          <p:cNvSpPr txBox="1">
            <a:spLocks noGrp="1"/>
          </p:cNvSpPr>
          <p:nvPr>
            <p:ph type="ctrTitle"/>
          </p:nvPr>
        </p:nvSpPr>
        <p:spPr>
          <a:xfrm>
            <a:off x="284634" y="2176462"/>
            <a:ext cx="4017024" cy="22883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405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7" name="Google Shape;747;p81"/>
          <p:cNvSpPr txBox="1"/>
          <p:nvPr/>
        </p:nvSpPr>
        <p:spPr>
          <a:xfrm>
            <a:off x="4197808" y="4993461"/>
            <a:ext cx="2881110" cy="15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25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2020 Mayo Foundation for Medical Education and Research  |  slide-</a:t>
            </a:r>
            <a:fld id="{00000000-1234-1234-1234-123412341234}" type="slidenum">
              <a:rPr lang="en-US" sz="525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25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8" name="Google Shape;748;p81"/>
          <p:cNvSpPr/>
          <p:nvPr/>
        </p:nvSpPr>
        <p:spPr>
          <a:xfrm>
            <a:off x="284634" y="267414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6738" y="1488282"/>
            <a:ext cx="3580809" cy="221456"/>
          </a:xfrm>
        </p:spPr>
        <p:txBody>
          <a:bodyPr anchor="t" anchorCtr="0"/>
          <a:lstStyle>
            <a:lvl1pPr marL="0" indent="0">
              <a:buNone/>
              <a:defRPr sz="15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6738" y="1707356"/>
            <a:ext cx="3580809" cy="2778919"/>
          </a:xfrm>
        </p:spPr>
        <p:txBody>
          <a:bodyPr tIns="68589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31625" y="1488282"/>
            <a:ext cx="3580809" cy="221456"/>
          </a:xfrm>
        </p:spPr>
        <p:txBody>
          <a:bodyPr anchor="t" anchorCtr="0"/>
          <a:lstStyle>
            <a:lvl1pPr marL="0" indent="0">
              <a:buNone/>
              <a:defRPr sz="15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31625" y="1707356"/>
            <a:ext cx="3580809" cy="2778919"/>
          </a:xfrm>
        </p:spPr>
        <p:txBody>
          <a:bodyPr tIns="68589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31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hank You">
  <p:cSld name="1_Thank You"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82"/>
          <p:cNvSpPr txBox="1">
            <a:spLocks noGrp="1"/>
          </p:cNvSpPr>
          <p:nvPr>
            <p:ph type="ctrTitle"/>
          </p:nvPr>
        </p:nvSpPr>
        <p:spPr>
          <a:xfrm>
            <a:off x="284634" y="3257550"/>
            <a:ext cx="4095626" cy="120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405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1" name="Google Shape;751;p82"/>
          <p:cNvSpPr txBox="1">
            <a:spLocks noGrp="1"/>
          </p:cNvSpPr>
          <p:nvPr>
            <p:ph type="subTitle" idx="1"/>
          </p:nvPr>
        </p:nvSpPr>
        <p:spPr>
          <a:xfrm>
            <a:off x="284634" y="4467225"/>
            <a:ext cx="4095626" cy="51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1">
                <a:solidFill>
                  <a:schemeClr val="accent1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52" name="Google Shape;752;p82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7683914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3" name="Google Shape;753;p82"/>
          <p:cNvSpPr/>
          <p:nvPr/>
        </p:nvSpPr>
        <p:spPr>
          <a:xfrm>
            <a:off x="284634" y="267414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4" name="Google Shape;754;p82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_Left">
  <p:cSld name="1_Title Only_Left">
    <p:spTree>
      <p:nvGrpSpPr>
        <p:cNvPr id="1" name="Shape 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Google Shape;756;p83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7" name="Google Shape;757;p83"/>
          <p:cNvSpPr txBox="1">
            <a:spLocks noGrp="1"/>
          </p:cNvSpPr>
          <p:nvPr>
            <p:ph type="ftr" idx="11"/>
          </p:nvPr>
        </p:nvSpPr>
        <p:spPr>
          <a:xfrm>
            <a:off x="284635" y="4601766"/>
            <a:ext cx="8462784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8" name="Google Shape;758;p83"/>
          <p:cNvSpPr txBox="1">
            <a:spLocks noGrp="1"/>
          </p:cNvSpPr>
          <p:nvPr>
            <p:ph type="title"/>
          </p:nvPr>
        </p:nvSpPr>
        <p:spPr>
          <a:xfrm>
            <a:off x="284634" y="402431"/>
            <a:ext cx="8128846" cy="795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_33% image">
  <p:cSld name="6_Title Slide_33% image">
    <p:spTree>
      <p:nvGrpSpPr>
        <p:cNvPr id="1" name="Shape 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" name="Google Shape;760;p84"/>
          <p:cNvSpPr/>
          <p:nvPr/>
        </p:nvSpPr>
        <p:spPr>
          <a:xfrm>
            <a:off x="0" y="1"/>
            <a:ext cx="4572000" cy="51434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1" name="Google Shape;761;p84"/>
          <p:cNvSpPr txBox="1">
            <a:spLocks noGrp="1"/>
          </p:cNvSpPr>
          <p:nvPr>
            <p:ph type="ctrTitle"/>
          </p:nvPr>
        </p:nvSpPr>
        <p:spPr>
          <a:xfrm>
            <a:off x="284634" y="2474369"/>
            <a:ext cx="4095626" cy="120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400"/>
              <a:buFont typeface="Arial"/>
              <a:buNone/>
              <a:defRPr sz="4050"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2" name="Google Shape;762;p84"/>
          <p:cNvSpPr txBox="1">
            <a:spLocks noGrp="1"/>
          </p:cNvSpPr>
          <p:nvPr>
            <p:ph type="subTitle" idx="1"/>
          </p:nvPr>
        </p:nvSpPr>
        <p:spPr>
          <a:xfrm>
            <a:off x="284634" y="3684044"/>
            <a:ext cx="4095626" cy="51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1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63" name="Google Shape;763;p84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7683914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4" name="Google Shape;764;p84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65" name="Google Shape;765;p84"/>
          <p:cNvSpPr/>
          <p:nvPr/>
        </p:nvSpPr>
        <p:spPr>
          <a:xfrm>
            <a:off x="284634" y="274559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_33% image">
  <p:cSld name="7_Title Slide_33% image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7" name="Google Shape;767;p85"/>
          <p:cNvSpPr/>
          <p:nvPr/>
        </p:nvSpPr>
        <p:spPr>
          <a:xfrm>
            <a:off x="0" y="1"/>
            <a:ext cx="4572000" cy="51434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8" name="Google Shape;768;p85"/>
          <p:cNvSpPr txBox="1">
            <a:spLocks noGrp="1"/>
          </p:cNvSpPr>
          <p:nvPr>
            <p:ph type="ctrTitle"/>
          </p:nvPr>
        </p:nvSpPr>
        <p:spPr>
          <a:xfrm>
            <a:off x="284634" y="3249502"/>
            <a:ext cx="4095626" cy="1204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400"/>
              <a:buFont typeface="Arial"/>
              <a:buNone/>
              <a:defRPr sz="4050"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9" name="Google Shape;769;p85"/>
          <p:cNvSpPr txBox="1">
            <a:spLocks noGrp="1"/>
          </p:cNvSpPr>
          <p:nvPr>
            <p:ph type="subTitle" idx="1"/>
          </p:nvPr>
        </p:nvSpPr>
        <p:spPr>
          <a:xfrm>
            <a:off x="284634" y="4459177"/>
            <a:ext cx="4095626" cy="51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1800" b="1">
                <a:solidFill>
                  <a:schemeClr val="accent2"/>
                </a:solidFill>
              </a:defRPr>
            </a:lvl1pPr>
            <a:lvl2pPr lvl="1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70" name="Google Shape;770;p85"/>
          <p:cNvSpPr txBox="1">
            <a:spLocks noGrp="1"/>
          </p:cNvSpPr>
          <p:nvPr>
            <p:ph type="ftr" idx="11"/>
          </p:nvPr>
        </p:nvSpPr>
        <p:spPr>
          <a:xfrm>
            <a:off x="4571999" y="4601766"/>
            <a:ext cx="3841958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1" name="Google Shape;771;p85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72" name="Google Shape;772;p85"/>
          <p:cNvSpPr/>
          <p:nvPr/>
        </p:nvSpPr>
        <p:spPr>
          <a:xfrm>
            <a:off x="284634" y="274559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50/50 Blue and white">
  <p:cSld name="3_50/50 Blue and white">
    <p:spTree>
      <p:nvGrpSpPr>
        <p:cNvPr id="1" name="Shape 7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4" name="Google Shape;774;p86"/>
          <p:cNvSpPr/>
          <p:nvPr/>
        </p:nvSpPr>
        <p:spPr>
          <a:xfrm>
            <a:off x="-14291" y="0"/>
            <a:ext cx="4579146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5" name="Google Shape;775;p86"/>
          <p:cNvSpPr txBox="1">
            <a:spLocks noGrp="1"/>
          </p:cNvSpPr>
          <p:nvPr>
            <p:ph type="title"/>
          </p:nvPr>
        </p:nvSpPr>
        <p:spPr>
          <a:xfrm>
            <a:off x="284634" y="2486025"/>
            <a:ext cx="2776069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6" name="Google Shape;776;p86"/>
          <p:cNvSpPr txBox="1">
            <a:spLocks noGrp="1"/>
          </p:cNvSpPr>
          <p:nvPr>
            <p:ph type="body" idx="1"/>
          </p:nvPr>
        </p:nvSpPr>
        <p:spPr>
          <a:xfrm>
            <a:off x="284634" y="3431381"/>
            <a:ext cx="3880971" cy="1323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47650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>
                <a:solidFill>
                  <a:schemeClr val="dk1"/>
                </a:solidFill>
              </a:defRPr>
            </a:lvl1pPr>
            <a:lvl2pPr marL="685800" lvl="1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2pPr>
            <a:lvl3pPr marL="1028700" lvl="2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3pPr>
            <a:lvl4pPr marL="1371600" lvl="3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4pPr>
            <a:lvl5pPr marL="1714500" lvl="4" indent="-23812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050">
                <a:solidFill>
                  <a:schemeClr val="dk1"/>
                </a:solidFill>
              </a:defRPr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" name="Google Shape;777;p86"/>
          <p:cNvSpPr txBox="1">
            <a:spLocks noGrp="1"/>
          </p:cNvSpPr>
          <p:nvPr>
            <p:ph type="ftr" idx="11"/>
          </p:nvPr>
        </p:nvSpPr>
        <p:spPr>
          <a:xfrm>
            <a:off x="4831624" y="4601766"/>
            <a:ext cx="3915795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8" name="Google Shape;778;p86"/>
          <p:cNvSpPr>
            <a:spLocks noGrp="1"/>
          </p:cNvSpPr>
          <p:nvPr>
            <p:ph type="pic" idx="2"/>
          </p:nvPr>
        </p:nvSpPr>
        <p:spPr>
          <a:xfrm>
            <a:off x="4564855" y="0"/>
            <a:ext cx="458629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Content_Graph right (Tall)">
  <p:cSld name="1_Two Content_Graph right (Tall)">
    <p:spTree>
      <p:nvGrpSpPr>
        <p:cNvPr id="1" name="Shape 7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" name="Google Shape;780;p87"/>
          <p:cNvSpPr txBox="1">
            <a:spLocks noGrp="1"/>
          </p:cNvSpPr>
          <p:nvPr>
            <p:ph type="body" idx="1"/>
          </p:nvPr>
        </p:nvSpPr>
        <p:spPr>
          <a:xfrm>
            <a:off x="4831624" y="402432"/>
            <a:ext cx="3581142" cy="40206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SzPts val="1800"/>
              <a:buChar char="•"/>
              <a:defRPr sz="1350"/>
            </a:lvl1pPr>
            <a:lvl2pPr marL="685800" lvl="1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2pPr>
            <a:lvl3pPr marL="1028700" lvl="2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3pPr>
            <a:lvl4pPr marL="1371600" lvl="3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4pPr>
            <a:lvl5pPr marL="1714500" lvl="4" indent="-257175" algn="l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5pPr>
            <a:lvl6pPr marL="2057400" lvl="5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6pPr>
            <a:lvl7pPr marL="2400300" lvl="6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7pPr>
            <a:lvl8pPr marL="2743200" lvl="7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8pPr>
            <a:lvl9pPr marL="3086100" lvl="8" indent="-261938" algn="l">
              <a:spcBef>
                <a:spcPts val="285"/>
              </a:spcBef>
              <a:spcAft>
                <a:spcPts val="0"/>
              </a:spcAft>
              <a:buClr>
                <a:schemeClr val="lt1"/>
              </a:buClr>
              <a:buSzPts val="1900"/>
              <a:buChar char="•"/>
              <a:defRPr sz="1425"/>
            </a:lvl9pPr>
          </a:lstStyle>
          <a:p>
            <a:endParaRPr/>
          </a:p>
        </p:txBody>
      </p:sp>
      <p:sp>
        <p:nvSpPr>
          <p:cNvPr id="781" name="Google Shape;781;p87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2" name="Google Shape;782;p87"/>
          <p:cNvSpPr txBox="1">
            <a:spLocks noGrp="1"/>
          </p:cNvSpPr>
          <p:nvPr>
            <p:ph type="ftr" idx="11"/>
          </p:nvPr>
        </p:nvSpPr>
        <p:spPr>
          <a:xfrm>
            <a:off x="284635" y="4601766"/>
            <a:ext cx="8462784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3" name="Google Shape;783;p87"/>
          <p:cNvSpPr txBox="1">
            <a:spLocks noGrp="1"/>
          </p:cNvSpPr>
          <p:nvPr>
            <p:ph type="title"/>
          </p:nvPr>
        </p:nvSpPr>
        <p:spPr>
          <a:xfrm>
            <a:off x="284634" y="395287"/>
            <a:ext cx="4026551" cy="1092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4" name="Google Shape;784;p87"/>
          <p:cNvSpPr txBox="1">
            <a:spLocks noGrp="1"/>
          </p:cNvSpPr>
          <p:nvPr>
            <p:ph type="body" idx="2"/>
          </p:nvPr>
        </p:nvSpPr>
        <p:spPr>
          <a:xfrm>
            <a:off x="284634" y="2125693"/>
            <a:ext cx="3736916" cy="22974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342900" lvl="0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1pPr>
            <a:lvl2pPr marL="685800" lvl="1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2pPr>
            <a:lvl3pPr marL="1028700" lvl="2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3pPr>
            <a:lvl4pPr marL="1371600" lvl="3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4pPr>
            <a:lvl5pPr marL="1714500" lvl="4" indent="-257175" algn="l">
              <a:lnSpc>
                <a:spcPct val="113000"/>
              </a:lnSpc>
              <a:spcBef>
                <a:spcPts val="450"/>
              </a:spcBef>
              <a:spcAft>
                <a:spcPts val="0"/>
              </a:spcAft>
              <a:buSzPts val="1800"/>
              <a:buChar char="•"/>
              <a:defRPr sz="1350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Blue Thank You">
  <p:cSld name="1_Blue Thank You">
    <p:spTree>
      <p:nvGrpSpPr>
        <p:cNvPr id="1" name="Shape 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" name="Google Shape;786;p88"/>
          <p:cNvSpPr/>
          <p:nvPr/>
        </p:nvSpPr>
        <p:spPr>
          <a:xfrm>
            <a:off x="1" y="0"/>
            <a:ext cx="7102737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7" name="Google Shape;787;p88"/>
          <p:cNvSpPr txBox="1">
            <a:spLocks noGrp="1"/>
          </p:cNvSpPr>
          <p:nvPr>
            <p:ph type="ctrTitle"/>
          </p:nvPr>
        </p:nvSpPr>
        <p:spPr>
          <a:xfrm>
            <a:off x="284634" y="2140744"/>
            <a:ext cx="6539362" cy="1290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400"/>
              <a:buFont typeface="Arial"/>
              <a:buNone/>
              <a:defRPr sz="4050" b="1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8" name="Google Shape;788;p88"/>
          <p:cNvSpPr txBox="1"/>
          <p:nvPr/>
        </p:nvSpPr>
        <p:spPr>
          <a:xfrm>
            <a:off x="4204954" y="4993461"/>
            <a:ext cx="2881110" cy="15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©2020 Mayo Foundation for Medical Education and Research  |  slide-</a:t>
            </a:r>
            <a:fld id="{00000000-1234-1234-1234-123412341234}" type="slidenum">
              <a:rPr lang="en-US" sz="525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25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9" name="Google Shape;789;p88"/>
          <p:cNvSpPr/>
          <p:nvPr/>
        </p:nvSpPr>
        <p:spPr>
          <a:xfrm>
            <a:off x="284634" y="274559"/>
            <a:ext cx="628773" cy="685800"/>
          </a:xfrm>
          <a:custGeom>
            <a:avLst/>
            <a:gdLst/>
            <a:ahLst/>
            <a:cxnLst/>
            <a:rect l="l" t="t" r="r" b="b"/>
            <a:pathLst>
              <a:path w="1089" h="1188" extrusionOk="0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_Centered">
  <p:cSld name="1_Title Only_Centered"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1" name="Google Shape;791;p89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2" name="Google Shape;792;p89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3" name="Google Shape;793;p89"/>
          <p:cNvSpPr txBox="1">
            <a:spLocks noGrp="1"/>
          </p:cNvSpPr>
          <p:nvPr>
            <p:ph type="title"/>
          </p:nvPr>
        </p:nvSpPr>
        <p:spPr>
          <a:xfrm>
            <a:off x="730519" y="402431"/>
            <a:ext cx="7682961" cy="795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Title only_no 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8CECBDF-7608-441D-B813-0625813C3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953" y="613122"/>
            <a:ext cx="7488600" cy="44053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96889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FB1B8-A3F0-71BD-A259-73F54AAB06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4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621353-39CA-2B83-823A-AE30D1508A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799"/>
            </a:lvl1pPr>
            <a:lvl2pPr marL="342815" indent="0" algn="ctr">
              <a:buNone/>
              <a:defRPr sz="1500"/>
            </a:lvl2pPr>
            <a:lvl3pPr marL="685628" indent="0" algn="ctr">
              <a:buNone/>
              <a:defRPr sz="1350"/>
            </a:lvl3pPr>
            <a:lvl4pPr marL="1028443" indent="0" algn="ctr">
              <a:buNone/>
              <a:defRPr sz="1200"/>
            </a:lvl4pPr>
            <a:lvl5pPr marL="1371257" indent="0" algn="ctr">
              <a:buNone/>
              <a:defRPr sz="1200"/>
            </a:lvl5pPr>
            <a:lvl6pPr marL="1714072" indent="0" algn="ctr">
              <a:buNone/>
              <a:defRPr sz="1200"/>
            </a:lvl6pPr>
            <a:lvl7pPr marL="2056886" indent="0" algn="ctr">
              <a:buNone/>
              <a:defRPr sz="1200"/>
            </a:lvl7pPr>
            <a:lvl8pPr marL="2399700" indent="0" algn="ctr">
              <a:buNone/>
              <a:defRPr sz="1200"/>
            </a:lvl8pPr>
            <a:lvl9pPr marL="274251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AFB45D-640A-F520-74B9-FDFC543D5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E8178-BA40-455D-B239-AAB82ED40AB5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9F8111-446E-9876-6D15-139B2CB37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71D0F6-A631-68BF-C316-0D4BF2DFD5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96394672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0/40 Title and Content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419946" y="0"/>
            <a:ext cx="3724054" cy="51435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5" y="402433"/>
            <a:ext cx="4101580" cy="44053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5" y="1488281"/>
            <a:ext cx="4101581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5816528" y="1488281"/>
            <a:ext cx="2935655" cy="2990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39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336A00-249E-E594-2D4B-25D5033F1B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AEB6CE-CCF5-94C1-7BBC-F1062F1FE3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B7BB73-8002-C1F5-3379-83BB56012C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E8178-BA40-455D-B239-AAB82ED40AB5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1855A8-E711-FE7E-F7AE-615E0EDE2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B59210-8870-BED9-0358-C57C71E8B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809264237"/>
      </p:ext>
    </p:extLst>
  </p:cSld>
  <p:clrMapOvr>
    <a:masterClrMapping/>
  </p:clrMapOvr>
  <p:hf sldNum="0" hdr="0" ftr="0" dt="0"/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646346-9178-9E83-C2A6-F9657601F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44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55A27A-9FA1-DBCA-74E3-A96DDEAE2D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1pPr>
            <a:lvl2pPr marL="34281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2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4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2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07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8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5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91E3EB-B7AF-E8E6-7A69-FE12BB0C1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E8178-BA40-455D-B239-AAB82ED40AB5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41ED6E-43B8-28D4-6EF2-603AFB025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6A8038-838D-F05F-0696-CB1013E16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21219748"/>
      </p:ext>
    </p:extLst>
  </p:cSld>
  <p:clrMapOvr>
    <a:masterClrMapping/>
  </p:clrMapOvr>
  <p:hf sldNum="0" hdr="0" ftr="0" dt="0"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4D1D4A-AB10-C9BA-0A17-66A22124A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69EBF6-8626-443C-1AC6-13A5AC61A6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7DE493-D840-46B3-2E1B-B0DA6D1E9C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D1A9D9-CC30-5FC8-1CFB-E9E50C0905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E8178-BA40-455D-B239-AAB82ED40AB5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D59E68-7872-BDCB-F718-6836B0CF0F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DF2957-5A14-66B9-39B4-A16FDAE91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32965710"/>
      </p:ext>
    </p:extLst>
  </p:cSld>
  <p:clrMapOvr>
    <a:masterClrMapping/>
  </p:clrMapOvr>
  <p:hf sldNum="0" hdr="0" ftr="0" dt="0"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27D89-7B6E-B473-C88D-5107CFBDC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642547-7737-C660-4BCB-1855EC5587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799" b="1"/>
            </a:lvl1pPr>
            <a:lvl2pPr marL="342815" indent="0">
              <a:buNone/>
              <a:defRPr sz="1500" b="1"/>
            </a:lvl2pPr>
            <a:lvl3pPr marL="685628" indent="0">
              <a:buNone/>
              <a:defRPr sz="1350" b="1"/>
            </a:lvl3pPr>
            <a:lvl4pPr marL="1028443" indent="0">
              <a:buNone/>
              <a:defRPr sz="1200" b="1"/>
            </a:lvl4pPr>
            <a:lvl5pPr marL="1371257" indent="0">
              <a:buNone/>
              <a:defRPr sz="1200" b="1"/>
            </a:lvl5pPr>
            <a:lvl6pPr marL="1714072" indent="0">
              <a:buNone/>
              <a:defRPr sz="1200" b="1"/>
            </a:lvl6pPr>
            <a:lvl7pPr marL="2056886" indent="0">
              <a:buNone/>
              <a:defRPr sz="1200" b="1"/>
            </a:lvl7pPr>
            <a:lvl8pPr marL="2399700" indent="0">
              <a:buNone/>
              <a:defRPr sz="1200" b="1"/>
            </a:lvl8pPr>
            <a:lvl9pPr marL="2742515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B2FB01-AC80-B236-EB86-CDDB975D16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16B2D6-7D7D-14B5-AA26-EE9F89FEC4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799" b="1"/>
            </a:lvl1pPr>
            <a:lvl2pPr marL="342815" indent="0">
              <a:buNone/>
              <a:defRPr sz="1500" b="1"/>
            </a:lvl2pPr>
            <a:lvl3pPr marL="685628" indent="0">
              <a:buNone/>
              <a:defRPr sz="1350" b="1"/>
            </a:lvl3pPr>
            <a:lvl4pPr marL="1028443" indent="0">
              <a:buNone/>
              <a:defRPr sz="1200" b="1"/>
            </a:lvl4pPr>
            <a:lvl5pPr marL="1371257" indent="0">
              <a:buNone/>
              <a:defRPr sz="1200" b="1"/>
            </a:lvl5pPr>
            <a:lvl6pPr marL="1714072" indent="0">
              <a:buNone/>
              <a:defRPr sz="1200" b="1"/>
            </a:lvl6pPr>
            <a:lvl7pPr marL="2056886" indent="0">
              <a:buNone/>
              <a:defRPr sz="1200" b="1"/>
            </a:lvl7pPr>
            <a:lvl8pPr marL="2399700" indent="0">
              <a:buNone/>
              <a:defRPr sz="1200" b="1"/>
            </a:lvl8pPr>
            <a:lvl9pPr marL="2742515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91AA52-7A8D-996D-264C-FD9E22B7D6E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8067DE4-3FA3-2F8A-42BB-B84FCFC127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E8178-BA40-455D-B239-AAB82ED40AB5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C3E2B6-4F58-B631-E8F9-CF6F69CB7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B1ABCCF-D0A8-21C1-9281-805E48177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005010390"/>
      </p:ext>
    </p:extLst>
  </p:cSld>
  <p:clrMapOvr>
    <a:masterClrMapping/>
  </p:clrMapOvr>
  <p:hf sldNum="0" hdr="0" ftr="0" dt="0"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6FC140-D955-D85F-A2E2-A2B8CCE336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D5F700-55EE-30A4-AE08-DBCF591AA8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E8178-BA40-455D-B239-AAB82ED40AB5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A2E04F-81BD-A562-354B-26FF63DC53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8DEA37-6FD6-F19C-1D88-FC0FB79F4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585506047"/>
      </p:ext>
    </p:extLst>
  </p:cSld>
  <p:clrMapOvr>
    <a:masterClrMapping/>
  </p:clrMapOvr>
  <p:hf sldNum="0" hdr="0" ftr="0" dt="0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ECE181-88C8-3178-1F89-7DE414CE2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E8178-BA40-455D-B239-AAB82ED40AB5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60F89F-3AAA-23AB-7AB2-6DD097AE1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9098AC-05EB-0C58-08DC-601578A60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02786373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94F3D-030A-CD40-5FB2-CB5993553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3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2829C1-217D-491C-9028-BC9351C94F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399"/>
            </a:lvl1pPr>
            <a:lvl2pPr>
              <a:defRPr sz="2099"/>
            </a:lvl2pPr>
            <a:lvl3pPr>
              <a:defRPr sz="1799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2057F4-3D7C-88A4-B357-FFD3DF94D8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15" indent="0">
              <a:buNone/>
              <a:defRPr sz="1050"/>
            </a:lvl2pPr>
            <a:lvl3pPr marL="685628" indent="0">
              <a:buNone/>
              <a:defRPr sz="900"/>
            </a:lvl3pPr>
            <a:lvl4pPr marL="1028443" indent="0">
              <a:buNone/>
              <a:defRPr sz="750"/>
            </a:lvl4pPr>
            <a:lvl5pPr marL="1371257" indent="0">
              <a:buNone/>
              <a:defRPr sz="750"/>
            </a:lvl5pPr>
            <a:lvl6pPr marL="1714072" indent="0">
              <a:buNone/>
              <a:defRPr sz="750"/>
            </a:lvl6pPr>
            <a:lvl7pPr marL="2056886" indent="0">
              <a:buNone/>
              <a:defRPr sz="750"/>
            </a:lvl7pPr>
            <a:lvl8pPr marL="2399700" indent="0">
              <a:buNone/>
              <a:defRPr sz="750"/>
            </a:lvl8pPr>
            <a:lvl9pPr marL="2742515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8ED257-2E78-0D14-CE1A-5DAD2BBD7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E8178-BA40-455D-B239-AAB82ED40AB5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709D39-DCE4-4D04-E59E-F4E7085D6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2FF5D8-F20B-C54D-C2FC-35F4C5714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957860133"/>
      </p:ext>
    </p:extLst>
  </p:cSld>
  <p:clrMapOvr>
    <a:masterClrMapping/>
  </p:clrMapOvr>
  <p:hf sldNum="0" hdr="0" ftr="0" dt="0"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13556A-D063-9F9E-1275-7CF66E37D7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3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5D4793-F892-1C77-D48F-9EA0BCE6394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399"/>
            </a:lvl1pPr>
            <a:lvl2pPr marL="342815" indent="0">
              <a:buNone/>
              <a:defRPr sz="2099"/>
            </a:lvl2pPr>
            <a:lvl3pPr marL="685628" indent="0">
              <a:buNone/>
              <a:defRPr sz="1799"/>
            </a:lvl3pPr>
            <a:lvl4pPr marL="1028443" indent="0">
              <a:buNone/>
              <a:defRPr sz="1500"/>
            </a:lvl4pPr>
            <a:lvl5pPr marL="1371257" indent="0">
              <a:buNone/>
              <a:defRPr sz="1500"/>
            </a:lvl5pPr>
            <a:lvl6pPr marL="1714072" indent="0">
              <a:buNone/>
              <a:defRPr sz="1500"/>
            </a:lvl6pPr>
            <a:lvl7pPr marL="2056886" indent="0">
              <a:buNone/>
              <a:defRPr sz="1500"/>
            </a:lvl7pPr>
            <a:lvl8pPr marL="2399700" indent="0">
              <a:buNone/>
              <a:defRPr sz="1500"/>
            </a:lvl8pPr>
            <a:lvl9pPr marL="2742515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6C92D5-855E-7BA5-600B-74214F1CD4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15" indent="0">
              <a:buNone/>
              <a:defRPr sz="1050"/>
            </a:lvl2pPr>
            <a:lvl3pPr marL="685628" indent="0">
              <a:buNone/>
              <a:defRPr sz="900"/>
            </a:lvl3pPr>
            <a:lvl4pPr marL="1028443" indent="0">
              <a:buNone/>
              <a:defRPr sz="750"/>
            </a:lvl4pPr>
            <a:lvl5pPr marL="1371257" indent="0">
              <a:buNone/>
              <a:defRPr sz="750"/>
            </a:lvl5pPr>
            <a:lvl6pPr marL="1714072" indent="0">
              <a:buNone/>
              <a:defRPr sz="750"/>
            </a:lvl6pPr>
            <a:lvl7pPr marL="2056886" indent="0">
              <a:buNone/>
              <a:defRPr sz="750"/>
            </a:lvl7pPr>
            <a:lvl8pPr marL="2399700" indent="0">
              <a:buNone/>
              <a:defRPr sz="750"/>
            </a:lvl8pPr>
            <a:lvl9pPr marL="2742515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118144-75C4-D410-D3E3-1B515E5AC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E8178-BA40-455D-B239-AAB82ED40AB5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3188F8-D962-E9F5-67FA-E339F0CF4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FEED5E-C048-0973-ACF7-8D0ECB1B9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612692761"/>
      </p:ext>
    </p:extLst>
  </p:cSld>
  <p:clrMapOvr>
    <a:masterClrMapping/>
  </p:clrMapOvr>
  <p:hf sldNum="0" hdr="0" ftr="0" dt="0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E59811-6BD7-2845-0672-DDE56F660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9E63DD-9058-AF09-7E11-5C181605A0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3FAA38-A87E-17AC-7D2F-3210F5AD23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E8178-BA40-455D-B239-AAB82ED40AB5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0CA9C7-7BD2-D44A-1C96-1F358829F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4DDD8C-3D37-827B-8300-4ABC77CCF7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529370626"/>
      </p:ext>
    </p:extLst>
  </p:cSld>
  <p:clrMapOvr>
    <a:masterClrMapping/>
  </p:clrMapOvr>
  <p:hf sldNum="0" hdr="0" ftr="0" dt="0"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48CDB2-9051-9793-7ABA-EE0342B3DA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273845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B07E677-E133-EB9B-D035-B786F7D222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5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769289-1490-1B50-AD18-A1EA04DB3D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E8178-BA40-455D-B239-AAB82ED40AB5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C4314-579F-77E5-1A7B-51397972F6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DCF22A-880B-7E11-D501-0CDC5B875A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98215032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/60 Title and Two Content Comparison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313183" y="0"/>
            <a:ext cx="5830818" cy="51435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5" y="1774629"/>
            <a:ext cx="2306841" cy="1594247"/>
          </a:xfrm>
        </p:spPr>
        <p:txBody>
          <a:bodyPr tIns="0" bIns="0" anchor="ctr" anchorCtr="0"/>
          <a:lstStyle>
            <a:lvl1pPr>
              <a:defRPr sz="2400"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16200000">
            <a:off x="-1218710" y="2521732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3744301" y="407195"/>
            <a:ext cx="2359242" cy="578644"/>
          </a:xfrm>
        </p:spPr>
        <p:txBody>
          <a:bodyPr bIns="0" anchor="b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3744301" y="1197769"/>
            <a:ext cx="2359242" cy="2990088"/>
          </a:xfrm>
        </p:spPr>
        <p:txBody>
          <a:bodyPr tIns="68589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buClrTx/>
              <a:defRPr sz="1400">
                <a:solidFill>
                  <a:schemeClr val="tx1"/>
                </a:solidFill>
              </a:defRPr>
            </a:lvl2pPr>
            <a:lvl3pPr>
              <a:buClrTx/>
              <a:defRPr sz="1400">
                <a:solidFill>
                  <a:schemeClr val="tx1"/>
                </a:solidFill>
              </a:defRPr>
            </a:lvl3pPr>
            <a:lvl4pPr>
              <a:buClrTx/>
              <a:defRPr sz="1400">
                <a:solidFill>
                  <a:schemeClr val="tx1"/>
                </a:solidFill>
              </a:defRPr>
            </a:lvl4pPr>
            <a:lvl5pPr>
              <a:buClrTx/>
              <a:defRPr sz="1400">
                <a:solidFill>
                  <a:schemeClr val="tx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2"/>
          </p:nvPr>
        </p:nvSpPr>
        <p:spPr>
          <a:xfrm>
            <a:off x="6395324" y="407195"/>
            <a:ext cx="2359242" cy="578644"/>
          </a:xfrm>
        </p:spPr>
        <p:txBody>
          <a:bodyPr bIns="0" anchor="b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3"/>
          </p:nvPr>
        </p:nvSpPr>
        <p:spPr>
          <a:xfrm>
            <a:off x="6395324" y="1197769"/>
            <a:ext cx="2359242" cy="2990088"/>
          </a:xfrm>
        </p:spPr>
        <p:txBody>
          <a:bodyPr vert="horz" lIns="0" tIns="68589" rIns="0" bIns="34298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reeform 15"/>
          <p:cNvSpPr/>
          <p:nvPr userDrawn="1"/>
        </p:nvSpPr>
        <p:spPr>
          <a:xfrm>
            <a:off x="3737154" y="1091803"/>
            <a:ext cx="5001928" cy="0"/>
          </a:xfrm>
          <a:custGeom>
            <a:avLst/>
            <a:gdLst>
              <a:gd name="connsiteX0" fmla="*/ 0 w 6667500"/>
              <a:gd name="connsiteY0" fmla="*/ 0 h 0"/>
              <a:gd name="connsiteX1" fmla="*/ 6667500 w 6667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67500">
                <a:moveTo>
                  <a:pt x="0" y="0"/>
                </a:moveTo>
                <a:lnTo>
                  <a:pt x="6667500" y="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697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086" lvl="0" indent="-342815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171" lvl="1" indent="-317421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257" lvl="2" indent="-317421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343" lvl="3" indent="-317421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429" lvl="4" indent="-317421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2515" lvl="5" indent="-317421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199600" lvl="6" indent="-317421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6686" lvl="7" indent="-317421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3771" lvl="8" indent="-317421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7899489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933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 noChangeAspect="1" noEditPoints="1"/>
          </p:cNvSpPr>
          <p:nvPr userDrawn="1"/>
        </p:nvSpPr>
        <p:spPr bwMode="auto">
          <a:xfrm>
            <a:off x="406109" y="4537472"/>
            <a:ext cx="314387" cy="3429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4" y="1193006"/>
            <a:ext cx="7501144" cy="32918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76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0043" y="2140744"/>
            <a:ext cx="7499504" cy="104775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0044" y="3193256"/>
            <a:ext cx="7501144" cy="514350"/>
          </a:xfrm>
        </p:spPr>
        <p:txBody>
          <a:bodyPr lIns="0" tIns="34295" rIns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</a:defRPr>
            </a:lvl1pPr>
            <a:lvl2pPr marL="342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30044" y="5043487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reeform 6"/>
          <p:cNvSpPr>
            <a:spLocks noChangeAspect="1" noEditPoints="1"/>
          </p:cNvSpPr>
          <p:nvPr/>
        </p:nvSpPr>
        <p:spPr bwMode="auto">
          <a:xfrm>
            <a:off x="406109" y="402431"/>
            <a:ext cx="628773" cy="6858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0043" y="2140744"/>
            <a:ext cx="7499504" cy="104775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9948" y="3193256"/>
            <a:ext cx="7501241" cy="514350"/>
          </a:xfrm>
        </p:spPr>
        <p:txBody>
          <a:bodyPr lIns="0" tIns="34295" rIns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342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reeform 6"/>
          <p:cNvSpPr>
            <a:spLocks noChangeAspect="1" noEditPoints="1"/>
          </p:cNvSpPr>
          <p:nvPr/>
        </p:nvSpPr>
        <p:spPr bwMode="auto">
          <a:xfrm>
            <a:off x="406109" y="402431"/>
            <a:ext cx="628773" cy="6858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88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 noChangeAspect="1" noEditPoints="1"/>
          </p:cNvSpPr>
          <p:nvPr/>
        </p:nvSpPr>
        <p:spPr bwMode="auto">
          <a:xfrm>
            <a:off x="406109" y="4537472"/>
            <a:ext cx="314387" cy="3429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4" y="1193006"/>
            <a:ext cx="7501144" cy="32918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562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4" y="1193006"/>
            <a:ext cx="7501144" cy="32918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698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ategy and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0044" y="3669411"/>
            <a:ext cx="1714947" cy="1083564"/>
          </a:xfrm>
        </p:spPr>
        <p:txBody>
          <a:bodyPr tIns="68589" bIns="34295"/>
          <a:lstStyle>
            <a:lvl1pPr marL="128605" indent="-128605">
              <a:spcBef>
                <a:spcPts val="675"/>
              </a:spcBef>
              <a:buFont typeface="Arial" panose="020B0604020202020204" pitchFamily="34" charset="0"/>
              <a:buChar char="•"/>
              <a:defRPr sz="1200"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730044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2660948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591851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6522753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660948" y="3669411"/>
            <a:ext cx="1714947" cy="1083564"/>
          </a:xfrm>
        </p:spPr>
        <p:txBody>
          <a:bodyPr tIns="68589" bIns="34295"/>
          <a:lstStyle>
            <a:lvl1pPr marL="128605" indent="-128605">
              <a:spcBef>
                <a:spcPts val="675"/>
              </a:spcBef>
              <a:buFont typeface="Arial" panose="020B0604020202020204" pitchFamily="34" charset="0"/>
              <a:buChar char="•"/>
              <a:defRPr sz="1200"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591851" y="3669411"/>
            <a:ext cx="1714947" cy="1083564"/>
          </a:xfrm>
        </p:spPr>
        <p:txBody>
          <a:bodyPr tIns="68589" bIns="34295"/>
          <a:lstStyle>
            <a:lvl1pPr marL="128605" indent="-128605">
              <a:spcBef>
                <a:spcPts val="675"/>
              </a:spcBef>
              <a:buFont typeface="Arial" panose="020B0604020202020204" pitchFamily="34" charset="0"/>
              <a:buChar char="•"/>
              <a:defRPr sz="1200"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6522753" y="3669411"/>
            <a:ext cx="1714947" cy="1083564"/>
          </a:xfrm>
        </p:spPr>
        <p:txBody>
          <a:bodyPr tIns="68589" bIns="34295"/>
          <a:lstStyle>
            <a:lvl1pPr marL="128605" indent="-128605">
              <a:spcBef>
                <a:spcPts val="675"/>
              </a:spcBef>
              <a:buFont typeface="Arial" panose="020B0604020202020204" pitchFamily="34" charset="0"/>
              <a:buChar char="•"/>
              <a:defRPr sz="1200"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/>
          </p:nvPr>
        </p:nvSpPr>
        <p:spPr>
          <a:xfrm>
            <a:off x="730044" y="1400175"/>
            <a:ext cx="7501144" cy="41433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200"/>
            </a:lvl1pPr>
            <a:lvl4pPr marL="1028837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730123" y="1197769"/>
            <a:ext cx="7503002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6"/>
          </p:nvPr>
        </p:nvSpPr>
        <p:spPr>
          <a:xfrm>
            <a:off x="730044" y="2371727"/>
            <a:ext cx="7501144" cy="692944"/>
          </a:xfrm>
        </p:spPr>
        <p:txBody>
          <a:bodyPr tIns="68589"/>
          <a:lstStyle>
            <a:lvl1pPr marL="128605" indent="-128605">
              <a:spcBef>
                <a:spcPts val="675"/>
              </a:spcBef>
              <a:buFont typeface="Arial" panose="020B0604020202020204" pitchFamily="34" charset="0"/>
              <a:buChar char="•"/>
              <a:defRPr sz="1200"/>
            </a:lvl1pPr>
            <a:lvl4pPr marL="1028837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27"/>
          </p:nvPr>
        </p:nvSpPr>
        <p:spPr>
          <a:xfrm>
            <a:off x="730123" y="2167160"/>
            <a:ext cx="7503002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38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arning objective blac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313183" y="0"/>
            <a:ext cx="5830818" cy="51435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6" y="1774629"/>
            <a:ext cx="2299695" cy="1594247"/>
          </a:xfrm>
        </p:spPr>
        <p:txBody>
          <a:bodyPr tIns="0" bIns="0"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 rot="16200000">
            <a:off x="-1218710" y="2521732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Content Placeholder 3"/>
          <p:cNvSpPr>
            <a:spLocks noGrp="1"/>
          </p:cNvSpPr>
          <p:nvPr>
            <p:ph sz="half" idx="13"/>
          </p:nvPr>
        </p:nvSpPr>
        <p:spPr>
          <a:xfrm>
            <a:off x="3744300" y="1197769"/>
            <a:ext cx="5010265" cy="274796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lnSpc>
                <a:spcPct val="125000"/>
              </a:lnSpc>
              <a:buNone/>
              <a:defRPr lang="en-US" sz="1700" dirty="0" smtClean="0">
                <a:solidFill>
                  <a:schemeClr val="tx1"/>
                </a:solidFill>
              </a:defRPr>
            </a:lvl1pPr>
            <a:lvl2pPr marL="342946" indent="0">
              <a:buClr>
                <a:schemeClr val="tx1"/>
              </a:buClr>
              <a:buNone/>
              <a:defRPr lang="en-US" sz="1700" dirty="0" smtClean="0"/>
            </a:lvl2pPr>
            <a:lvl3pPr marL="685891" indent="0">
              <a:buClr>
                <a:schemeClr val="tx1"/>
              </a:buClr>
              <a:buNone/>
              <a:defRPr lang="en-US" sz="1700" dirty="0" smtClean="0"/>
            </a:lvl3pPr>
            <a:lvl4pPr marL="1028837" indent="0">
              <a:buClr>
                <a:schemeClr val="tx1"/>
              </a:buClr>
              <a:buNone/>
              <a:defRPr lang="en-US" sz="1700" dirty="0" smtClean="0"/>
            </a:lvl4pPr>
            <a:lvl5pPr marL="1371783" indent="0">
              <a:buClr>
                <a:schemeClr val="tx1"/>
              </a:buClr>
              <a:buNone/>
              <a:defRPr lang="en-US" sz="1700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072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3744300" y="0"/>
            <a:ext cx="53997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1774629"/>
            <a:ext cx="2742723" cy="1594247"/>
          </a:xfrm>
        </p:spPr>
        <p:txBody>
          <a:bodyPr tIns="0" bIns="0" anchor="ctr" anchorCtr="0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0045" y="3629025"/>
            <a:ext cx="2749869" cy="957263"/>
          </a:xfrm>
        </p:spPr>
        <p:txBody>
          <a:bodyPr/>
          <a:lstStyle>
            <a:lvl1pPr marL="0" indent="0"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633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ck_blu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0"/>
            <a:ext cx="4575478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68522" y="0"/>
            <a:ext cx="457547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6110" y="402433"/>
            <a:ext cx="8346073" cy="4350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808438"/>
            <a:ext cx="7507655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4" y="1599010"/>
            <a:ext cx="7507655" cy="2751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D2D2D2"/>
                </a:solidFill>
              </a:rPr>
              <a:pPr/>
              <a:t>10/17/2023</a:t>
            </a:fld>
            <a:endParaRPr lang="en-US">
              <a:solidFill>
                <a:srgbClr val="D2D2D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D2D2D2"/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D2D2D2"/>
                </a:solidFill>
              </a:rPr>
              <a:pPr defTabSz="914362"/>
              <a:t>‹#›</a:t>
            </a:fld>
            <a:endParaRPr lang="en-US" sz="500">
              <a:solidFill>
                <a:srgbClr val="D2D2D2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6401" y="4601766"/>
            <a:ext cx="6553200" cy="274320"/>
          </a:xfrm>
          <a:prstGeom prst="rect">
            <a:avLst/>
          </a:prstGeom>
        </p:spPr>
        <p:txBody>
          <a:bodyPr vert="horz" lIns="0" tIns="34298" rIns="0" bIns="0" rtlCol="0" anchor="t" anchorCtr="0"/>
          <a:lstStyle>
            <a:lvl1pPr algn="r">
              <a:lnSpc>
                <a:spcPct val="90000"/>
              </a:lnSpc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249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ck_whit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0"/>
            <a:ext cx="457547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68522" y="0"/>
            <a:ext cx="4575478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6110" y="402433"/>
            <a:ext cx="8346073" cy="4350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808438"/>
            <a:ext cx="7507655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4" y="1599010"/>
            <a:ext cx="7507655" cy="2751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D2D2D2"/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D2D2D2"/>
                </a:solidFill>
              </a:rPr>
              <a:pPr defTabSz="914362"/>
              <a:t>‹#›</a:t>
            </a:fld>
            <a:endParaRPr lang="en-US" sz="500">
              <a:solidFill>
                <a:srgbClr val="D2D2D2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6401" y="4601766"/>
            <a:ext cx="6553200" cy="274320"/>
          </a:xfrm>
          <a:prstGeom prst="rect">
            <a:avLst/>
          </a:prstGeom>
        </p:spPr>
        <p:txBody>
          <a:bodyPr vert="horz" lIns="0" tIns="34298" rIns="0" bIns="0" rtlCol="0" anchor="t" anchorCtr="0"/>
          <a:lstStyle>
            <a:lvl1pPr algn="r">
              <a:lnSpc>
                <a:spcPct val="90000"/>
              </a:lnSpc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19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/5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3"/>
            <a:ext cx="3581142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3" y="1488281"/>
            <a:ext cx="3581142" cy="2990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Content Placeholder 7"/>
          <p:cNvSpPr>
            <a:spLocks noGrp="1"/>
          </p:cNvSpPr>
          <p:nvPr>
            <p:ph sz="quarter" idx="12"/>
          </p:nvPr>
        </p:nvSpPr>
        <p:spPr>
          <a:xfrm>
            <a:off x="4579146" y="0"/>
            <a:ext cx="4564854" cy="51435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78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4" y="1193006"/>
            <a:ext cx="7501144" cy="32918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20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/5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31624" y="402433"/>
            <a:ext cx="3920558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31624" y="1488281"/>
            <a:ext cx="3920558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3162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0" y="0"/>
            <a:ext cx="4579146" cy="51435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1089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0/6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744300" y="0"/>
            <a:ext cx="53997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730043" y="1488282"/>
            <a:ext cx="2749870" cy="293484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1"/>
            <a:ext cx="2749870" cy="795338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49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0/6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08688" y="402433"/>
            <a:ext cx="4743494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8688" y="1488281"/>
            <a:ext cx="4743494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008688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7443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7891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0/4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419946" y="0"/>
            <a:ext cx="3724054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730044" y="1488282"/>
            <a:ext cx="4421943" cy="293484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402433"/>
            <a:ext cx="4421943" cy="440531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117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0/4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5159131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19946" y="402433"/>
            <a:ext cx="3332237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9946" y="1488281"/>
            <a:ext cx="3332237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419946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75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2314575"/>
            <a:ext cx="7501144" cy="514350"/>
          </a:xfrm>
        </p:spPr>
        <p:txBody>
          <a:bodyPr anchor="t" anchorCtr="0"/>
          <a:lstStyle>
            <a:lvl1pPr algn="l">
              <a:defRPr sz="30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rot="16200000">
            <a:off x="-1218710" y="2521732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83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79374" y="2047875"/>
            <a:ext cx="6145225" cy="1047750"/>
          </a:xfrm>
        </p:spPr>
        <p:txBody>
          <a:bodyPr anchor="t" anchorCtr="0"/>
          <a:lstStyle>
            <a:lvl1pPr algn="l">
              <a:defRPr sz="30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730044" y="1879253"/>
            <a:ext cx="1184018" cy="1558119"/>
          </a:xfrm>
        </p:spPr>
        <p:txBody>
          <a:bodyPr bIns="0">
            <a:spAutoFit/>
          </a:bodyPr>
          <a:lstStyle>
            <a:lvl1pPr marL="0" indent="0">
              <a:buNone/>
              <a:defRPr sz="113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3429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" name="Rectangle 5"/>
          <p:cNvSpPr/>
          <p:nvPr/>
        </p:nvSpPr>
        <p:spPr>
          <a:xfrm rot="16200000">
            <a:off x="-1218710" y="2521732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804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number_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579146" y="0"/>
            <a:ext cx="4564854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3698081"/>
            <a:ext cx="3581142" cy="1047750"/>
          </a:xfrm>
        </p:spPr>
        <p:txBody>
          <a:bodyPr anchor="t" anchorCtr="0"/>
          <a:lstStyle>
            <a:lvl1pPr algn="l">
              <a:defRPr sz="24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730044" y="402431"/>
            <a:ext cx="1184018" cy="1558119"/>
          </a:xfrm>
        </p:spPr>
        <p:txBody>
          <a:bodyPr bIns="0">
            <a:spAutoFit/>
          </a:bodyPr>
          <a:lstStyle>
            <a:lvl1pPr marL="0" indent="0">
              <a:buNone/>
              <a:defRPr sz="113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3429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9" name="Rectangle 8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92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number_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44300" y="0"/>
            <a:ext cx="53997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3698081"/>
            <a:ext cx="2742723" cy="1047750"/>
          </a:xfrm>
        </p:spPr>
        <p:txBody>
          <a:bodyPr anchor="t" anchorCtr="0"/>
          <a:lstStyle>
            <a:lvl1pPr algn="l">
              <a:defRPr sz="24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730044" y="402431"/>
            <a:ext cx="1184018" cy="1558119"/>
          </a:xfrm>
        </p:spPr>
        <p:txBody>
          <a:bodyPr bIns="0">
            <a:spAutoFit/>
          </a:bodyPr>
          <a:lstStyle>
            <a:lvl1pPr marL="0" indent="0">
              <a:buNone/>
              <a:defRPr sz="113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3429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9" name="Rectangle 8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842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content low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1"/>
            <a:ext cx="3581142" cy="10858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9147" y="402432"/>
            <a:ext cx="4173037" cy="1085850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1714500"/>
            <a:ext cx="9144000" cy="34290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7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65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y and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0044" y="3669411"/>
            <a:ext cx="1714947" cy="1083564"/>
          </a:xfrm>
        </p:spPr>
        <p:txBody>
          <a:bodyPr tIns="68589" bIns="34295"/>
          <a:lstStyle>
            <a:lvl1pPr marL="128605" indent="-128605">
              <a:spcBef>
                <a:spcPts val="675"/>
              </a:spcBef>
              <a:buFont typeface="Arial" panose="020B0604020202020204" pitchFamily="34" charset="0"/>
              <a:buChar char="•"/>
              <a:defRPr sz="1200"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730044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2660948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591851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6522753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660948" y="3669411"/>
            <a:ext cx="1714947" cy="1083564"/>
          </a:xfrm>
        </p:spPr>
        <p:txBody>
          <a:bodyPr tIns="68589" bIns="34295"/>
          <a:lstStyle>
            <a:lvl1pPr marL="128605" indent="-128605">
              <a:spcBef>
                <a:spcPts val="675"/>
              </a:spcBef>
              <a:buFont typeface="Arial" panose="020B0604020202020204" pitchFamily="34" charset="0"/>
              <a:buChar char="•"/>
              <a:defRPr sz="1200"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591851" y="3669411"/>
            <a:ext cx="1714947" cy="1083564"/>
          </a:xfrm>
        </p:spPr>
        <p:txBody>
          <a:bodyPr tIns="68589" bIns="34295"/>
          <a:lstStyle>
            <a:lvl1pPr marL="128605" indent="-128605">
              <a:spcBef>
                <a:spcPts val="675"/>
              </a:spcBef>
              <a:buFont typeface="Arial" panose="020B0604020202020204" pitchFamily="34" charset="0"/>
              <a:buChar char="•"/>
              <a:defRPr sz="1200"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6522753" y="3669411"/>
            <a:ext cx="1714947" cy="1083564"/>
          </a:xfrm>
        </p:spPr>
        <p:txBody>
          <a:bodyPr tIns="68589" bIns="34295"/>
          <a:lstStyle>
            <a:lvl1pPr marL="128605" indent="-128605">
              <a:spcBef>
                <a:spcPts val="675"/>
              </a:spcBef>
              <a:buFont typeface="Arial" panose="020B0604020202020204" pitchFamily="34" charset="0"/>
              <a:buChar char="•"/>
              <a:defRPr sz="1200"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/>
          </p:nvPr>
        </p:nvSpPr>
        <p:spPr>
          <a:xfrm>
            <a:off x="730044" y="1400175"/>
            <a:ext cx="7501144" cy="41433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200"/>
            </a:lvl1pPr>
            <a:lvl4pPr marL="1028837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730123" y="1197769"/>
            <a:ext cx="7503002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6"/>
          </p:nvPr>
        </p:nvSpPr>
        <p:spPr>
          <a:xfrm>
            <a:off x="730044" y="2371727"/>
            <a:ext cx="7501144" cy="692944"/>
          </a:xfrm>
        </p:spPr>
        <p:txBody>
          <a:bodyPr tIns="68589"/>
          <a:lstStyle>
            <a:lvl1pPr marL="128605" indent="-128605">
              <a:spcBef>
                <a:spcPts val="675"/>
              </a:spcBef>
              <a:buFont typeface="Arial" panose="020B0604020202020204" pitchFamily="34" charset="0"/>
              <a:buChar char="•"/>
              <a:defRPr sz="1200"/>
            </a:lvl1pPr>
            <a:lvl4pPr marL="1028837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27"/>
          </p:nvPr>
        </p:nvSpPr>
        <p:spPr>
          <a:xfrm>
            <a:off x="730123" y="2167160"/>
            <a:ext cx="7503002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73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content lower image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1714500"/>
            <a:ext cx="9144000" cy="34290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1714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3"/>
            <a:ext cx="3581142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9147" y="402432"/>
            <a:ext cx="4173037" cy="1085850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730044" y="2128837"/>
            <a:ext cx="8022139" cy="26241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00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icon layout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30044" y="1488283"/>
            <a:ext cx="7501700" cy="592931"/>
          </a:xfrm>
        </p:spPr>
        <p:txBody>
          <a:bodyPr/>
          <a:lstStyle>
            <a:lvl1pPr marL="0" indent="0">
              <a:spcBef>
                <a:spcPts val="450"/>
              </a:spcBef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0044" y="3517478"/>
            <a:ext cx="1714947" cy="108356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730044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2660948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591851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6522753" y="3305621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660948" y="3517478"/>
            <a:ext cx="1714947" cy="108356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591851" y="3517478"/>
            <a:ext cx="1714947" cy="108356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6522753" y="3517478"/>
            <a:ext cx="1714947" cy="108356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00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_gray border-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0"/>
            <a:ext cx="4575478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68522" y="0"/>
            <a:ext cx="457547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0394" y="402433"/>
            <a:ext cx="8346073" cy="4350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808438"/>
            <a:ext cx="7507655" cy="389333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3" y="1602581"/>
            <a:ext cx="3496586" cy="2757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D2D2D2"/>
                </a:solidFill>
              </a:rPr>
              <a:pPr/>
              <a:t>10/17/2023</a:t>
            </a:fld>
            <a:endParaRPr lang="en-US">
              <a:solidFill>
                <a:srgbClr val="D2D2D2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794853" y="1810123"/>
            <a:ext cx="2435224" cy="56160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5794853" y="1599010"/>
            <a:ext cx="2433494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5794853" y="2797152"/>
            <a:ext cx="2435224" cy="56160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5794853" y="2589014"/>
            <a:ext cx="2435224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5794853" y="3788942"/>
            <a:ext cx="2435224" cy="561604"/>
          </a:xfrm>
        </p:spPr>
        <p:txBody>
          <a:bodyPr tIns="68589" bIns="34295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5794853" y="3579019"/>
            <a:ext cx="2435224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342946" indent="0">
              <a:buNone/>
              <a:defRPr b="1"/>
            </a:lvl2pPr>
            <a:lvl3pPr marL="685891" indent="0">
              <a:buNone/>
              <a:defRPr b="1"/>
            </a:lvl3pPr>
            <a:lvl4pPr marL="1028837" indent="0">
              <a:buNone/>
              <a:defRPr b="1"/>
            </a:lvl4pPr>
            <a:lvl5pPr marL="1371783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D2D2D2"/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D2D2D2"/>
                </a:solidFill>
              </a:rPr>
              <a:pPr defTabSz="914362"/>
              <a:t>‹#›</a:t>
            </a:fld>
            <a:endParaRPr lang="en-US" sz="500">
              <a:solidFill>
                <a:srgbClr val="D2D2D2"/>
              </a:solidFill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6401" y="4601766"/>
            <a:ext cx="6553200" cy="274320"/>
          </a:xfrm>
          <a:prstGeom prst="rect">
            <a:avLst/>
          </a:prstGeom>
        </p:spPr>
        <p:txBody>
          <a:bodyPr vert="horz" lIns="0" tIns="34298" rIns="0" bIns="0" rtlCol="0" anchor="t" anchorCtr="0"/>
          <a:lstStyle>
            <a:lvl1pPr algn="r">
              <a:lnSpc>
                <a:spcPct val="90000"/>
              </a:lnSpc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89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402433"/>
            <a:ext cx="7501144" cy="440531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0045" y="1488282"/>
            <a:ext cx="3577927" cy="293484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1624" y="1488282"/>
            <a:ext cx="3581142" cy="293484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Freeform 8"/>
          <p:cNvSpPr>
            <a:spLocks noChangeAspect="1" noEditPoints="1"/>
          </p:cNvSpPr>
          <p:nvPr/>
        </p:nvSpPr>
        <p:spPr bwMode="auto">
          <a:xfrm>
            <a:off x="406109" y="4537472"/>
            <a:ext cx="314387" cy="342900"/>
          </a:xfrm>
          <a:custGeom>
            <a:avLst/>
            <a:gdLst>
              <a:gd name="T0" fmla="*/ 661 w 1089"/>
              <a:gd name="T1" fmla="*/ 944 h 1188"/>
              <a:gd name="T2" fmla="*/ 690 w 1089"/>
              <a:gd name="T3" fmla="*/ 760 h 1188"/>
              <a:gd name="T4" fmla="*/ 399 w 1089"/>
              <a:gd name="T5" fmla="*/ 967 h 1188"/>
              <a:gd name="T6" fmla="*/ 569 w 1089"/>
              <a:gd name="T7" fmla="*/ 721 h 1188"/>
              <a:gd name="T8" fmla="*/ 360 w 1089"/>
              <a:gd name="T9" fmla="*/ 930 h 1188"/>
              <a:gd name="T10" fmla="*/ 452 w 1089"/>
              <a:gd name="T11" fmla="*/ 794 h 1188"/>
              <a:gd name="T12" fmla="*/ 219 w 1089"/>
              <a:gd name="T13" fmla="*/ 794 h 1188"/>
              <a:gd name="T14" fmla="*/ 490 w 1089"/>
              <a:gd name="T15" fmla="*/ 692 h 1188"/>
              <a:gd name="T16" fmla="*/ 336 w 1089"/>
              <a:gd name="T17" fmla="*/ 999 h 1188"/>
              <a:gd name="T18" fmla="*/ 753 w 1089"/>
              <a:gd name="T19" fmla="*/ 999 h 1188"/>
              <a:gd name="T20" fmla="*/ 869 w 1089"/>
              <a:gd name="T21" fmla="*/ 794 h 1188"/>
              <a:gd name="T22" fmla="*/ 729 w 1089"/>
              <a:gd name="T23" fmla="*/ 721 h 1188"/>
              <a:gd name="T24" fmla="*/ 869 w 1089"/>
              <a:gd name="T25" fmla="*/ 794 h 1188"/>
              <a:gd name="T26" fmla="*/ 1016 w 1089"/>
              <a:gd name="T27" fmla="*/ 285 h 1188"/>
              <a:gd name="T28" fmla="*/ 1080 w 1089"/>
              <a:gd name="T29" fmla="*/ 453 h 1188"/>
              <a:gd name="T30" fmla="*/ 1062 w 1089"/>
              <a:gd name="T31" fmla="*/ 341 h 1188"/>
              <a:gd name="T32" fmla="*/ 810 w 1089"/>
              <a:gd name="T33" fmla="*/ 458 h 1188"/>
              <a:gd name="T34" fmla="*/ 872 w 1089"/>
              <a:gd name="T35" fmla="*/ 474 h 1188"/>
              <a:gd name="T36" fmla="*/ 872 w 1089"/>
              <a:gd name="T37" fmla="*/ 289 h 1188"/>
              <a:gd name="T38" fmla="*/ 758 w 1089"/>
              <a:gd name="T39" fmla="*/ 303 h 1188"/>
              <a:gd name="T40" fmla="*/ 713 w 1089"/>
              <a:gd name="T41" fmla="*/ 335 h 1188"/>
              <a:gd name="T42" fmla="*/ 528 w 1089"/>
              <a:gd name="T43" fmla="*/ 302 h 1188"/>
              <a:gd name="T44" fmla="*/ 528 w 1089"/>
              <a:gd name="T45" fmla="*/ 489 h 1188"/>
              <a:gd name="T46" fmla="*/ 573 w 1089"/>
              <a:gd name="T47" fmla="*/ 329 h 1188"/>
              <a:gd name="T48" fmla="*/ 408 w 1089"/>
              <a:gd name="T49" fmla="*/ 303 h 1188"/>
              <a:gd name="T50" fmla="*/ 408 w 1089"/>
              <a:gd name="T51" fmla="*/ 489 h 1188"/>
              <a:gd name="T52" fmla="*/ 471 w 1089"/>
              <a:gd name="T53" fmla="*/ 320 h 1188"/>
              <a:gd name="T54" fmla="*/ 408 w 1089"/>
              <a:gd name="T55" fmla="*/ 303 h 1188"/>
              <a:gd name="T56" fmla="*/ 329 w 1089"/>
              <a:gd name="T57" fmla="*/ 472 h 1188"/>
              <a:gd name="T58" fmla="*/ 309 w 1089"/>
              <a:gd name="T59" fmla="*/ 303 h 1188"/>
              <a:gd name="T60" fmla="*/ 243 w 1089"/>
              <a:gd name="T61" fmla="*/ 320 h 1188"/>
              <a:gd name="T62" fmla="*/ 379 w 1089"/>
              <a:gd name="T63" fmla="*/ 489 h 1188"/>
              <a:gd name="T64" fmla="*/ 188 w 1089"/>
              <a:gd name="T65" fmla="*/ 298 h 1188"/>
              <a:gd name="T66" fmla="*/ 193 w 1089"/>
              <a:gd name="T67" fmla="*/ 464 h 1188"/>
              <a:gd name="T68" fmla="*/ 114 w 1089"/>
              <a:gd name="T69" fmla="*/ 302 h 1188"/>
              <a:gd name="T70" fmla="*/ 884 w 1089"/>
              <a:gd name="T71" fmla="*/ 16 h 1188"/>
              <a:gd name="T72" fmla="*/ 776 w 1089"/>
              <a:gd name="T73" fmla="*/ 107 h 1188"/>
              <a:gd name="T74" fmla="*/ 776 w 1089"/>
              <a:gd name="T75" fmla="*/ 107 h 1188"/>
              <a:gd name="T76" fmla="*/ 743 w 1089"/>
              <a:gd name="T77" fmla="*/ 36 h 1188"/>
              <a:gd name="T78" fmla="*/ 702 w 1089"/>
              <a:gd name="T79" fmla="*/ 17 h 1188"/>
              <a:gd name="T80" fmla="*/ 640 w 1089"/>
              <a:gd name="T81" fmla="*/ 40 h 1188"/>
              <a:gd name="T82" fmla="*/ 568 w 1089"/>
              <a:gd name="T83" fmla="*/ 4 h 1188"/>
              <a:gd name="T84" fmla="*/ 652 w 1089"/>
              <a:gd name="T85" fmla="*/ 172 h 1188"/>
              <a:gd name="T86" fmla="*/ 714 w 1089"/>
              <a:gd name="T87" fmla="*/ 189 h 1188"/>
              <a:gd name="T88" fmla="*/ 444 w 1089"/>
              <a:gd name="T89" fmla="*/ 120 h 1188"/>
              <a:gd name="T90" fmla="*/ 437 w 1089"/>
              <a:gd name="T91" fmla="*/ 136 h 1188"/>
              <a:gd name="T92" fmla="*/ 509 w 1089"/>
              <a:gd name="T93" fmla="*/ 189 h 1188"/>
              <a:gd name="T94" fmla="*/ 567 w 1089"/>
              <a:gd name="T95" fmla="*/ 169 h 1188"/>
              <a:gd name="T96" fmla="*/ 379 w 1089"/>
              <a:gd name="T97" fmla="*/ 189 h 1188"/>
              <a:gd name="T98" fmla="*/ 164 w 1089"/>
              <a:gd name="T99" fmla="*/ 189 h 1188"/>
              <a:gd name="T100" fmla="*/ 223 w 1089"/>
              <a:gd name="T101" fmla="*/ 197 h 1188"/>
              <a:gd name="T102" fmla="*/ 276 w 1089"/>
              <a:gd name="T103" fmla="*/ 203 h 1188"/>
              <a:gd name="T104" fmla="*/ 336 w 1089"/>
              <a:gd name="T105" fmla="*/ 34 h 1188"/>
              <a:gd name="T106" fmla="*/ 229 w 1089"/>
              <a:gd name="T107" fmla="*/ 148 h 1188"/>
              <a:gd name="T108" fmla="*/ 119 w 1089"/>
              <a:gd name="T109" fmla="*/ 47 h 1188"/>
              <a:gd name="T110" fmla="*/ 164 w 1089"/>
              <a:gd name="T111" fmla="*/ 203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9" h="1188">
                <a:moveTo>
                  <a:pt x="598" y="609"/>
                </a:moveTo>
                <a:cubicBezTo>
                  <a:pt x="598" y="783"/>
                  <a:pt x="598" y="783"/>
                  <a:pt x="598" y="783"/>
                </a:cubicBezTo>
                <a:cubicBezTo>
                  <a:pt x="598" y="850"/>
                  <a:pt x="619" y="904"/>
                  <a:pt x="661" y="944"/>
                </a:cubicBezTo>
                <a:cubicBezTo>
                  <a:pt x="661" y="944"/>
                  <a:pt x="661" y="944"/>
                  <a:pt x="661" y="944"/>
                </a:cubicBezTo>
                <a:cubicBezTo>
                  <a:pt x="661" y="898"/>
                  <a:pt x="661" y="898"/>
                  <a:pt x="661" y="898"/>
                </a:cubicBezTo>
                <a:cubicBezTo>
                  <a:pt x="645" y="869"/>
                  <a:pt x="637" y="834"/>
                  <a:pt x="637" y="794"/>
                </a:cubicBezTo>
                <a:cubicBezTo>
                  <a:pt x="637" y="760"/>
                  <a:pt x="637" y="760"/>
                  <a:pt x="637" y="760"/>
                </a:cubicBezTo>
                <a:cubicBezTo>
                  <a:pt x="690" y="760"/>
                  <a:pt x="690" y="760"/>
                  <a:pt x="690" y="760"/>
                </a:cubicBezTo>
                <a:cubicBezTo>
                  <a:pt x="690" y="760"/>
                  <a:pt x="690" y="929"/>
                  <a:pt x="690" y="937"/>
                </a:cubicBezTo>
                <a:cubicBezTo>
                  <a:pt x="690" y="953"/>
                  <a:pt x="690" y="962"/>
                  <a:pt x="689" y="966"/>
                </a:cubicBezTo>
                <a:cubicBezTo>
                  <a:pt x="682" y="1063"/>
                  <a:pt x="635" y="1128"/>
                  <a:pt x="544" y="1166"/>
                </a:cubicBezTo>
                <a:cubicBezTo>
                  <a:pt x="454" y="1128"/>
                  <a:pt x="406" y="1063"/>
                  <a:pt x="399" y="967"/>
                </a:cubicBezTo>
                <a:cubicBezTo>
                  <a:pt x="461" y="925"/>
                  <a:pt x="490" y="864"/>
                  <a:pt x="490" y="783"/>
                </a:cubicBezTo>
                <a:cubicBezTo>
                  <a:pt x="490" y="760"/>
                  <a:pt x="490" y="760"/>
                  <a:pt x="490" y="760"/>
                </a:cubicBezTo>
                <a:cubicBezTo>
                  <a:pt x="569" y="760"/>
                  <a:pt x="569" y="760"/>
                  <a:pt x="569" y="760"/>
                </a:cubicBezTo>
                <a:cubicBezTo>
                  <a:pt x="569" y="721"/>
                  <a:pt x="569" y="721"/>
                  <a:pt x="569" y="721"/>
                </a:cubicBezTo>
                <a:cubicBezTo>
                  <a:pt x="360" y="721"/>
                  <a:pt x="360" y="721"/>
                  <a:pt x="360" y="721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60" y="929"/>
                  <a:pt x="360" y="930"/>
                  <a:pt x="360" y="930"/>
                </a:cubicBezTo>
                <a:cubicBezTo>
                  <a:pt x="360" y="930"/>
                  <a:pt x="360" y="930"/>
                  <a:pt x="360" y="930"/>
                </a:cubicBezTo>
                <a:cubicBezTo>
                  <a:pt x="376" y="919"/>
                  <a:pt x="388" y="906"/>
                  <a:pt x="398" y="890"/>
                </a:cubicBezTo>
                <a:cubicBezTo>
                  <a:pt x="398" y="760"/>
                  <a:pt x="398" y="760"/>
                  <a:pt x="398" y="760"/>
                </a:cubicBezTo>
                <a:cubicBezTo>
                  <a:pt x="452" y="760"/>
                  <a:pt x="452" y="760"/>
                  <a:pt x="452" y="760"/>
                </a:cubicBezTo>
                <a:cubicBezTo>
                  <a:pt x="452" y="794"/>
                  <a:pt x="452" y="794"/>
                  <a:pt x="452" y="794"/>
                </a:cubicBezTo>
                <a:cubicBezTo>
                  <a:pt x="452" y="854"/>
                  <a:pt x="434" y="902"/>
                  <a:pt x="398" y="936"/>
                </a:cubicBezTo>
                <a:cubicBezTo>
                  <a:pt x="383" y="951"/>
                  <a:pt x="370" y="959"/>
                  <a:pt x="361" y="964"/>
                </a:cubicBezTo>
                <a:cubicBezTo>
                  <a:pt x="352" y="970"/>
                  <a:pt x="345" y="973"/>
                  <a:pt x="336" y="977"/>
                </a:cubicBezTo>
                <a:cubicBezTo>
                  <a:pt x="257" y="944"/>
                  <a:pt x="219" y="882"/>
                  <a:pt x="219" y="794"/>
                </a:cubicBezTo>
                <a:cubicBezTo>
                  <a:pt x="219" y="648"/>
                  <a:pt x="219" y="648"/>
                  <a:pt x="219" y="648"/>
                </a:cubicBezTo>
                <a:cubicBezTo>
                  <a:pt x="452" y="648"/>
                  <a:pt x="452" y="648"/>
                  <a:pt x="452" y="648"/>
                </a:cubicBezTo>
                <a:cubicBezTo>
                  <a:pt x="452" y="692"/>
                  <a:pt x="452" y="692"/>
                  <a:pt x="452" y="692"/>
                </a:cubicBezTo>
                <a:cubicBezTo>
                  <a:pt x="490" y="692"/>
                  <a:pt x="490" y="692"/>
                  <a:pt x="490" y="692"/>
                </a:cubicBezTo>
                <a:cubicBezTo>
                  <a:pt x="490" y="609"/>
                  <a:pt x="490" y="609"/>
                  <a:pt x="490" y="609"/>
                </a:cubicBezTo>
                <a:cubicBezTo>
                  <a:pt x="181" y="609"/>
                  <a:pt x="181" y="609"/>
                  <a:pt x="181" y="609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81" y="889"/>
                  <a:pt x="231" y="959"/>
                  <a:pt x="336" y="999"/>
                </a:cubicBezTo>
                <a:cubicBezTo>
                  <a:pt x="346" y="995"/>
                  <a:pt x="355" y="991"/>
                  <a:pt x="364" y="987"/>
                </a:cubicBezTo>
                <a:cubicBezTo>
                  <a:pt x="380" y="1082"/>
                  <a:pt x="439" y="1148"/>
                  <a:pt x="544" y="1188"/>
                </a:cubicBezTo>
                <a:cubicBezTo>
                  <a:pt x="649" y="1148"/>
                  <a:pt x="708" y="1082"/>
                  <a:pt x="724" y="987"/>
                </a:cubicBezTo>
                <a:cubicBezTo>
                  <a:pt x="733" y="991"/>
                  <a:pt x="743" y="995"/>
                  <a:pt x="753" y="999"/>
                </a:cubicBezTo>
                <a:cubicBezTo>
                  <a:pt x="857" y="959"/>
                  <a:pt x="907" y="889"/>
                  <a:pt x="907" y="783"/>
                </a:cubicBezTo>
                <a:cubicBezTo>
                  <a:pt x="907" y="609"/>
                  <a:pt x="907" y="609"/>
                  <a:pt x="907" y="609"/>
                </a:cubicBezTo>
                <a:lnTo>
                  <a:pt x="598" y="609"/>
                </a:lnTo>
                <a:close/>
                <a:moveTo>
                  <a:pt x="869" y="794"/>
                </a:moveTo>
                <a:cubicBezTo>
                  <a:pt x="869" y="882"/>
                  <a:pt x="831" y="944"/>
                  <a:pt x="753" y="977"/>
                </a:cubicBezTo>
                <a:cubicBezTo>
                  <a:pt x="744" y="973"/>
                  <a:pt x="735" y="969"/>
                  <a:pt x="727" y="964"/>
                </a:cubicBezTo>
                <a:cubicBezTo>
                  <a:pt x="728" y="953"/>
                  <a:pt x="729" y="941"/>
                  <a:pt x="729" y="929"/>
                </a:cubicBezTo>
                <a:cubicBezTo>
                  <a:pt x="729" y="721"/>
                  <a:pt x="729" y="721"/>
                  <a:pt x="729" y="721"/>
                </a:cubicBezTo>
                <a:cubicBezTo>
                  <a:pt x="637" y="721"/>
                  <a:pt x="637" y="721"/>
                  <a:pt x="637" y="721"/>
                </a:cubicBezTo>
                <a:cubicBezTo>
                  <a:pt x="637" y="648"/>
                  <a:pt x="637" y="648"/>
                  <a:pt x="637" y="648"/>
                </a:cubicBezTo>
                <a:cubicBezTo>
                  <a:pt x="869" y="648"/>
                  <a:pt x="869" y="648"/>
                  <a:pt x="869" y="648"/>
                </a:cubicBezTo>
                <a:lnTo>
                  <a:pt x="869" y="794"/>
                </a:lnTo>
                <a:close/>
                <a:moveTo>
                  <a:pt x="1062" y="347"/>
                </a:moveTo>
                <a:cubicBezTo>
                  <a:pt x="1074" y="347"/>
                  <a:pt x="1074" y="347"/>
                  <a:pt x="1074" y="347"/>
                </a:cubicBezTo>
                <a:cubicBezTo>
                  <a:pt x="1084" y="298"/>
                  <a:pt x="1084" y="298"/>
                  <a:pt x="1084" y="298"/>
                </a:cubicBezTo>
                <a:cubicBezTo>
                  <a:pt x="1068" y="290"/>
                  <a:pt x="1041" y="285"/>
                  <a:pt x="1016" y="285"/>
                </a:cubicBezTo>
                <a:cubicBezTo>
                  <a:pt x="944" y="285"/>
                  <a:pt x="895" y="331"/>
                  <a:pt x="895" y="392"/>
                </a:cubicBezTo>
                <a:cubicBezTo>
                  <a:pt x="895" y="451"/>
                  <a:pt x="938" y="493"/>
                  <a:pt x="1007" y="493"/>
                </a:cubicBezTo>
                <a:cubicBezTo>
                  <a:pt x="1041" y="493"/>
                  <a:pt x="1069" y="482"/>
                  <a:pt x="1089" y="464"/>
                </a:cubicBezTo>
                <a:cubicBezTo>
                  <a:pt x="1080" y="453"/>
                  <a:pt x="1080" y="453"/>
                  <a:pt x="1080" y="453"/>
                </a:cubicBezTo>
                <a:cubicBezTo>
                  <a:pt x="1062" y="466"/>
                  <a:pt x="1040" y="473"/>
                  <a:pt x="1018" y="473"/>
                </a:cubicBezTo>
                <a:cubicBezTo>
                  <a:pt x="969" y="473"/>
                  <a:pt x="932" y="440"/>
                  <a:pt x="932" y="383"/>
                </a:cubicBezTo>
                <a:cubicBezTo>
                  <a:pt x="932" y="331"/>
                  <a:pt x="962" y="302"/>
                  <a:pt x="1009" y="302"/>
                </a:cubicBezTo>
                <a:cubicBezTo>
                  <a:pt x="1047" y="302"/>
                  <a:pt x="1062" y="313"/>
                  <a:pt x="1062" y="341"/>
                </a:cubicBezTo>
                <a:lnTo>
                  <a:pt x="1062" y="347"/>
                </a:lnTo>
                <a:close/>
                <a:moveTo>
                  <a:pt x="783" y="303"/>
                </a:moveTo>
                <a:cubicBezTo>
                  <a:pt x="808" y="304"/>
                  <a:pt x="810" y="306"/>
                  <a:pt x="810" y="320"/>
                </a:cubicBezTo>
                <a:cubicBezTo>
                  <a:pt x="810" y="458"/>
                  <a:pt x="810" y="458"/>
                  <a:pt x="810" y="458"/>
                </a:cubicBezTo>
                <a:cubicBezTo>
                  <a:pt x="810" y="471"/>
                  <a:pt x="808" y="473"/>
                  <a:pt x="783" y="474"/>
                </a:cubicBezTo>
                <a:cubicBezTo>
                  <a:pt x="783" y="489"/>
                  <a:pt x="783" y="489"/>
                  <a:pt x="783" y="489"/>
                </a:cubicBezTo>
                <a:cubicBezTo>
                  <a:pt x="872" y="489"/>
                  <a:pt x="872" y="489"/>
                  <a:pt x="872" y="489"/>
                </a:cubicBezTo>
                <a:cubicBezTo>
                  <a:pt x="872" y="474"/>
                  <a:pt x="872" y="474"/>
                  <a:pt x="872" y="474"/>
                </a:cubicBezTo>
                <a:cubicBezTo>
                  <a:pt x="847" y="473"/>
                  <a:pt x="845" y="471"/>
                  <a:pt x="845" y="458"/>
                </a:cubicBezTo>
                <a:cubicBezTo>
                  <a:pt x="845" y="320"/>
                  <a:pt x="845" y="320"/>
                  <a:pt x="845" y="320"/>
                </a:cubicBezTo>
                <a:cubicBezTo>
                  <a:pt x="845" y="306"/>
                  <a:pt x="847" y="304"/>
                  <a:pt x="872" y="303"/>
                </a:cubicBezTo>
                <a:cubicBezTo>
                  <a:pt x="872" y="289"/>
                  <a:pt x="872" y="289"/>
                  <a:pt x="872" y="289"/>
                </a:cubicBezTo>
                <a:cubicBezTo>
                  <a:pt x="783" y="289"/>
                  <a:pt x="783" y="289"/>
                  <a:pt x="783" y="289"/>
                </a:cubicBezTo>
                <a:lnTo>
                  <a:pt x="783" y="303"/>
                </a:lnTo>
                <a:close/>
                <a:moveTo>
                  <a:pt x="731" y="335"/>
                </a:moveTo>
                <a:cubicBezTo>
                  <a:pt x="731" y="308"/>
                  <a:pt x="736" y="303"/>
                  <a:pt x="758" y="303"/>
                </a:cubicBezTo>
                <a:cubicBezTo>
                  <a:pt x="758" y="289"/>
                  <a:pt x="758" y="289"/>
                  <a:pt x="758" y="289"/>
                </a:cubicBezTo>
                <a:cubicBezTo>
                  <a:pt x="686" y="289"/>
                  <a:pt x="686" y="289"/>
                  <a:pt x="686" y="289"/>
                </a:cubicBezTo>
                <a:cubicBezTo>
                  <a:pt x="686" y="303"/>
                  <a:pt x="686" y="303"/>
                  <a:pt x="686" y="303"/>
                </a:cubicBezTo>
                <a:cubicBezTo>
                  <a:pt x="708" y="303"/>
                  <a:pt x="713" y="308"/>
                  <a:pt x="713" y="335"/>
                </a:cubicBezTo>
                <a:cubicBezTo>
                  <a:pt x="713" y="436"/>
                  <a:pt x="713" y="436"/>
                  <a:pt x="713" y="436"/>
                </a:cubicBezTo>
                <a:cubicBezTo>
                  <a:pt x="584" y="289"/>
                  <a:pt x="584" y="289"/>
                  <a:pt x="584" y="289"/>
                </a:cubicBezTo>
                <a:cubicBezTo>
                  <a:pt x="526" y="289"/>
                  <a:pt x="526" y="289"/>
                  <a:pt x="526" y="289"/>
                </a:cubicBezTo>
                <a:cubicBezTo>
                  <a:pt x="528" y="302"/>
                  <a:pt x="528" y="302"/>
                  <a:pt x="528" y="302"/>
                </a:cubicBezTo>
                <a:cubicBezTo>
                  <a:pt x="552" y="306"/>
                  <a:pt x="555" y="308"/>
                  <a:pt x="555" y="329"/>
                </a:cubicBezTo>
                <a:cubicBezTo>
                  <a:pt x="555" y="443"/>
                  <a:pt x="555" y="443"/>
                  <a:pt x="555" y="443"/>
                </a:cubicBezTo>
                <a:cubicBezTo>
                  <a:pt x="555" y="469"/>
                  <a:pt x="550" y="474"/>
                  <a:pt x="528" y="474"/>
                </a:cubicBezTo>
                <a:cubicBezTo>
                  <a:pt x="528" y="489"/>
                  <a:pt x="528" y="489"/>
                  <a:pt x="528" y="489"/>
                </a:cubicBezTo>
                <a:cubicBezTo>
                  <a:pt x="600" y="489"/>
                  <a:pt x="600" y="489"/>
                  <a:pt x="600" y="489"/>
                </a:cubicBezTo>
                <a:cubicBezTo>
                  <a:pt x="600" y="474"/>
                  <a:pt x="600" y="474"/>
                  <a:pt x="600" y="474"/>
                </a:cubicBezTo>
                <a:cubicBezTo>
                  <a:pt x="577" y="474"/>
                  <a:pt x="573" y="469"/>
                  <a:pt x="573" y="443"/>
                </a:cubicBezTo>
                <a:cubicBezTo>
                  <a:pt x="573" y="329"/>
                  <a:pt x="573" y="329"/>
                  <a:pt x="573" y="329"/>
                </a:cubicBezTo>
                <a:cubicBezTo>
                  <a:pt x="716" y="491"/>
                  <a:pt x="716" y="491"/>
                  <a:pt x="716" y="491"/>
                </a:cubicBezTo>
                <a:cubicBezTo>
                  <a:pt x="731" y="491"/>
                  <a:pt x="731" y="491"/>
                  <a:pt x="731" y="491"/>
                </a:cubicBezTo>
                <a:lnTo>
                  <a:pt x="731" y="335"/>
                </a:lnTo>
                <a:close/>
                <a:moveTo>
                  <a:pt x="408" y="303"/>
                </a:moveTo>
                <a:cubicBezTo>
                  <a:pt x="433" y="304"/>
                  <a:pt x="436" y="306"/>
                  <a:pt x="436" y="320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71"/>
                  <a:pt x="433" y="473"/>
                  <a:pt x="408" y="474"/>
                </a:cubicBezTo>
                <a:cubicBezTo>
                  <a:pt x="408" y="489"/>
                  <a:pt x="408" y="489"/>
                  <a:pt x="408" y="489"/>
                </a:cubicBezTo>
                <a:cubicBezTo>
                  <a:pt x="498" y="489"/>
                  <a:pt x="498" y="489"/>
                  <a:pt x="498" y="489"/>
                </a:cubicBezTo>
                <a:cubicBezTo>
                  <a:pt x="498" y="474"/>
                  <a:pt x="498" y="474"/>
                  <a:pt x="498" y="474"/>
                </a:cubicBezTo>
                <a:cubicBezTo>
                  <a:pt x="473" y="473"/>
                  <a:pt x="471" y="471"/>
                  <a:pt x="471" y="458"/>
                </a:cubicBezTo>
                <a:cubicBezTo>
                  <a:pt x="471" y="320"/>
                  <a:pt x="471" y="320"/>
                  <a:pt x="471" y="320"/>
                </a:cubicBezTo>
                <a:cubicBezTo>
                  <a:pt x="471" y="306"/>
                  <a:pt x="473" y="304"/>
                  <a:pt x="498" y="303"/>
                </a:cubicBezTo>
                <a:cubicBezTo>
                  <a:pt x="498" y="289"/>
                  <a:pt x="498" y="289"/>
                  <a:pt x="498" y="289"/>
                </a:cubicBezTo>
                <a:cubicBezTo>
                  <a:pt x="408" y="289"/>
                  <a:pt x="408" y="289"/>
                  <a:pt x="408" y="289"/>
                </a:cubicBezTo>
                <a:lnTo>
                  <a:pt x="408" y="303"/>
                </a:lnTo>
                <a:close/>
                <a:moveTo>
                  <a:pt x="390" y="431"/>
                </a:moveTo>
                <a:cubicBezTo>
                  <a:pt x="379" y="431"/>
                  <a:pt x="379" y="431"/>
                  <a:pt x="379" y="431"/>
                </a:cubicBezTo>
                <a:cubicBezTo>
                  <a:pt x="374" y="440"/>
                  <a:pt x="374" y="440"/>
                  <a:pt x="374" y="440"/>
                </a:cubicBezTo>
                <a:cubicBezTo>
                  <a:pt x="362" y="466"/>
                  <a:pt x="352" y="472"/>
                  <a:pt x="329" y="472"/>
                </a:cubicBezTo>
                <a:cubicBezTo>
                  <a:pt x="292" y="472"/>
                  <a:pt x="292" y="472"/>
                  <a:pt x="292" y="472"/>
                </a:cubicBezTo>
                <a:cubicBezTo>
                  <a:pt x="279" y="472"/>
                  <a:pt x="278" y="467"/>
                  <a:pt x="278" y="449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06"/>
                  <a:pt x="280" y="303"/>
                  <a:pt x="309" y="303"/>
                </a:cubicBezTo>
                <a:cubicBezTo>
                  <a:pt x="309" y="289"/>
                  <a:pt x="309" y="289"/>
                  <a:pt x="309" y="289"/>
                </a:cubicBezTo>
                <a:cubicBezTo>
                  <a:pt x="217" y="289"/>
                  <a:pt x="217" y="289"/>
                  <a:pt x="217" y="289"/>
                </a:cubicBezTo>
                <a:cubicBezTo>
                  <a:pt x="217" y="303"/>
                  <a:pt x="217" y="303"/>
                  <a:pt x="217" y="303"/>
                </a:cubicBezTo>
                <a:cubicBezTo>
                  <a:pt x="241" y="304"/>
                  <a:pt x="243" y="306"/>
                  <a:pt x="243" y="320"/>
                </a:cubicBezTo>
                <a:cubicBezTo>
                  <a:pt x="243" y="446"/>
                  <a:pt x="243" y="446"/>
                  <a:pt x="243" y="446"/>
                </a:cubicBezTo>
                <a:cubicBezTo>
                  <a:pt x="243" y="469"/>
                  <a:pt x="241" y="471"/>
                  <a:pt x="219" y="475"/>
                </a:cubicBezTo>
                <a:cubicBezTo>
                  <a:pt x="219" y="489"/>
                  <a:pt x="219" y="489"/>
                  <a:pt x="219" y="489"/>
                </a:cubicBezTo>
                <a:cubicBezTo>
                  <a:pt x="379" y="489"/>
                  <a:pt x="379" y="489"/>
                  <a:pt x="379" y="489"/>
                </a:cubicBezTo>
                <a:lnTo>
                  <a:pt x="390" y="431"/>
                </a:lnTo>
                <a:close/>
                <a:moveTo>
                  <a:pt x="167" y="347"/>
                </a:moveTo>
                <a:cubicBezTo>
                  <a:pt x="179" y="347"/>
                  <a:pt x="179" y="347"/>
                  <a:pt x="179" y="347"/>
                </a:cubicBezTo>
                <a:cubicBezTo>
                  <a:pt x="188" y="298"/>
                  <a:pt x="188" y="298"/>
                  <a:pt x="188" y="298"/>
                </a:cubicBezTo>
                <a:cubicBezTo>
                  <a:pt x="172" y="290"/>
                  <a:pt x="146" y="285"/>
                  <a:pt x="120" y="285"/>
                </a:cubicBezTo>
                <a:cubicBezTo>
                  <a:pt x="49" y="285"/>
                  <a:pt x="0" y="331"/>
                  <a:pt x="0" y="392"/>
                </a:cubicBezTo>
                <a:cubicBezTo>
                  <a:pt x="0" y="451"/>
                  <a:pt x="43" y="493"/>
                  <a:pt x="112" y="493"/>
                </a:cubicBezTo>
                <a:cubicBezTo>
                  <a:pt x="146" y="493"/>
                  <a:pt x="174" y="482"/>
                  <a:pt x="193" y="464"/>
                </a:cubicBezTo>
                <a:cubicBezTo>
                  <a:pt x="185" y="453"/>
                  <a:pt x="185" y="453"/>
                  <a:pt x="185" y="453"/>
                </a:cubicBezTo>
                <a:cubicBezTo>
                  <a:pt x="167" y="466"/>
                  <a:pt x="145" y="473"/>
                  <a:pt x="123" y="473"/>
                </a:cubicBezTo>
                <a:cubicBezTo>
                  <a:pt x="74" y="473"/>
                  <a:pt x="37" y="440"/>
                  <a:pt x="37" y="383"/>
                </a:cubicBezTo>
                <a:cubicBezTo>
                  <a:pt x="37" y="331"/>
                  <a:pt x="66" y="302"/>
                  <a:pt x="114" y="302"/>
                </a:cubicBezTo>
                <a:cubicBezTo>
                  <a:pt x="152" y="302"/>
                  <a:pt x="167" y="313"/>
                  <a:pt x="167" y="341"/>
                </a:cubicBezTo>
                <a:lnTo>
                  <a:pt x="167" y="347"/>
                </a:lnTo>
                <a:close/>
                <a:moveTo>
                  <a:pt x="813" y="98"/>
                </a:moveTo>
                <a:cubicBezTo>
                  <a:pt x="813" y="45"/>
                  <a:pt x="840" y="16"/>
                  <a:pt x="884" y="16"/>
                </a:cubicBezTo>
                <a:cubicBezTo>
                  <a:pt x="930" y="16"/>
                  <a:pt x="960" y="50"/>
                  <a:pt x="960" y="109"/>
                </a:cubicBezTo>
                <a:cubicBezTo>
                  <a:pt x="960" y="162"/>
                  <a:pt x="933" y="190"/>
                  <a:pt x="889" y="190"/>
                </a:cubicBezTo>
                <a:cubicBezTo>
                  <a:pt x="843" y="190"/>
                  <a:pt x="813" y="156"/>
                  <a:pt x="813" y="98"/>
                </a:cubicBezTo>
                <a:moveTo>
                  <a:pt x="776" y="107"/>
                </a:moveTo>
                <a:cubicBezTo>
                  <a:pt x="776" y="167"/>
                  <a:pt x="816" y="207"/>
                  <a:pt x="883" y="207"/>
                </a:cubicBezTo>
                <a:cubicBezTo>
                  <a:pt x="951" y="207"/>
                  <a:pt x="997" y="163"/>
                  <a:pt x="997" y="100"/>
                </a:cubicBezTo>
                <a:cubicBezTo>
                  <a:pt x="997" y="40"/>
                  <a:pt x="957" y="0"/>
                  <a:pt x="890" y="0"/>
                </a:cubicBezTo>
                <a:cubicBezTo>
                  <a:pt x="822" y="0"/>
                  <a:pt x="776" y="44"/>
                  <a:pt x="776" y="107"/>
                </a:cubicBezTo>
                <a:moveTo>
                  <a:pt x="714" y="189"/>
                </a:moveTo>
                <a:cubicBezTo>
                  <a:pt x="689" y="188"/>
                  <a:pt x="687" y="186"/>
                  <a:pt x="687" y="172"/>
                </a:cubicBezTo>
                <a:cubicBezTo>
                  <a:pt x="687" y="115"/>
                  <a:pt x="687" y="115"/>
                  <a:pt x="687" y="115"/>
                </a:cubicBezTo>
                <a:cubicBezTo>
                  <a:pt x="743" y="36"/>
                  <a:pt x="743" y="36"/>
                  <a:pt x="743" y="36"/>
                </a:cubicBezTo>
                <a:cubicBezTo>
                  <a:pt x="753" y="22"/>
                  <a:pt x="756" y="18"/>
                  <a:pt x="771" y="18"/>
                </a:cubicBezTo>
                <a:cubicBezTo>
                  <a:pt x="771" y="4"/>
                  <a:pt x="771" y="4"/>
                  <a:pt x="771" y="4"/>
                </a:cubicBezTo>
                <a:cubicBezTo>
                  <a:pt x="702" y="4"/>
                  <a:pt x="702" y="4"/>
                  <a:pt x="702" y="4"/>
                </a:cubicBezTo>
                <a:cubicBezTo>
                  <a:pt x="702" y="17"/>
                  <a:pt x="702" y="17"/>
                  <a:pt x="702" y="17"/>
                </a:cubicBezTo>
                <a:cubicBezTo>
                  <a:pt x="720" y="18"/>
                  <a:pt x="724" y="21"/>
                  <a:pt x="724" y="27"/>
                </a:cubicBezTo>
                <a:cubicBezTo>
                  <a:pt x="724" y="31"/>
                  <a:pt x="722" y="36"/>
                  <a:pt x="718" y="42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40" y="40"/>
                  <a:pt x="640" y="40"/>
                  <a:pt x="640" y="40"/>
                </a:cubicBezTo>
                <a:cubicBezTo>
                  <a:pt x="636" y="34"/>
                  <a:pt x="634" y="31"/>
                  <a:pt x="634" y="27"/>
                </a:cubicBezTo>
                <a:cubicBezTo>
                  <a:pt x="634" y="21"/>
                  <a:pt x="639" y="18"/>
                  <a:pt x="657" y="17"/>
                </a:cubicBezTo>
                <a:cubicBezTo>
                  <a:pt x="657" y="4"/>
                  <a:pt x="657" y="4"/>
                  <a:pt x="657" y="4"/>
                </a:cubicBezTo>
                <a:cubicBezTo>
                  <a:pt x="568" y="4"/>
                  <a:pt x="568" y="4"/>
                  <a:pt x="568" y="4"/>
                </a:cubicBezTo>
                <a:cubicBezTo>
                  <a:pt x="568" y="18"/>
                  <a:pt x="568" y="18"/>
                  <a:pt x="568" y="18"/>
                </a:cubicBezTo>
                <a:cubicBezTo>
                  <a:pt x="581" y="18"/>
                  <a:pt x="585" y="22"/>
                  <a:pt x="595" y="36"/>
                </a:cubicBezTo>
                <a:cubicBezTo>
                  <a:pt x="652" y="117"/>
                  <a:pt x="652" y="117"/>
                  <a:pt x="652" y="117"/>
                </a:cubicBezTo>
                <a:cubicBezTo>
                  <a:pt x="652" y="172"/>
                  <a:pt x="652" y="172"/>
                  <a:pt x="652" y="172"/>
                </a:cubicBezTo>
                <a:cubicBezTo>
                  <a:pt x="652" y="186"/>
                  <a:pt x="650" y="188"/>
                  <a:pt x="625" y="189"/>
                </a:cubicBezTo>
                <a:cubicBezTo>
                  <a:pt x="625" y="203"/>
                  <a:pt x="625" y="203"/>
                  <a:pt x="625" y="203"/>
                </a:cubicBezTo>
                <a:cubicBezTo>
                  <a:pt x="714" y="203"/>
                  <a:pt x="714" y="203"/>
                  <a:pt x="714" y="203"/>
                </a:cubicBezTo>
                <a:lnTo>
                  <a:pt x="714" y="189"/>
                </a:lnTo>
                <a:close/>
                <a:moveTo>
                  <a:pt x="444" y="120"/>
                </a:moveTo>
                <a:cubicBezTo>
                  <a:pt x="476" y="47"/>
                  <a:pt x="476" y="47"/>
                  <a:pt x="476" y="47"/>
                </a:cubicBezTo>
                <a:cubicBezTo>
                  <a:pt x="508" y="120"/>
                  <a:pt x="508" y="120"/>
                  <a:pt x="508" y="120"/>
                </a:cubicBezTo>
                <a:lnTo>
                  <a:pt x="444" y="120"/>
                </a:lnTo>
                <a:close/>
                <a:moveTo>
                  <a:pt x="446" y="189"/>
                </a:moveTo>
                <a:cubicBezTo>
                  <a:pt x="427" y="189"/>
                  <a:pt x="421" y="185"/>
                  <a:pt x="421" y="176"/>
                </a:cubicBezTo>
                <a:cubicBezTo>
                  <a:pt x="421" y="173"/>
                  <a:pt x="423" y="168"/>
                  <a:pt x="425" y="164"/>
                </a:cubicBezTo>
                <a:cubicBezTo>
                  <a:pt x="437" y="136"/>
                  <a:pt x="437" y="136"/>
                  <a:pt x="437" y="136"/>
                </a:cubicBezTo>
                <a:cubicBezTo>
                  <a:pt x="515" y="136"/>
                  <a:pt x="515" y="136"/>
                  <a:pt x="515" y="136"/>
                </a:cubicBezTo>
                <a:cubicBezTo>
                  <a:pt x="528" y="167"/>
                  <a:pt x="528" y="167"/>
                  <a:pt x="528" y="167"/>
                </a:cubicBezTo>
                <a:cubicBezTo>
                  <a:pt x="530" y="171"/>
                  <a:pt x="531" y="175"/>
                  <a:pt x="531" y="178"/>
                </a:cubicBezTo>
                <a:cubicBezTo>
                  <a:pt x="531" y="186"/>
                  <a:pt x="526" y="189"/>
                  <a:pt x="509" y="189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91" y="203"/>
                  <a:pt x="591" y="203"/>
                  <a:pt x="591" y="203"/>
                </a:cubicBezTo>
                <a:cubicBezTo>
                  <a:pt x="591" y="189"/>
                  <a:pt x="591" y="189"/>
                  <a:pt x="591" y="189"/>
                </a:cubicBezTo>
                <a:cubicBezTo>
                  <a:pt x="576" y="188"/>
                  <a:pt x="574" y="185"/>
                  <a:pt x="567" y="169"/>
                </a:cubicBezTo>
                <a:cubicBezTo>
                  <a:pt x="492" y="1"/>
                  <a:pt x="492" y="1"/>
                  <a:pt x="492" y="1"/>
                </a:cubicBezTo>
                <a:cubicBezTo>
                  <a:pt x="478" y="1"/>
                  <a:pt x="478" y="1"/>
                  <a:pt x="478" y="1"/>
                </a:cubicBezTo>
                <a:cubicBezTo>
                  <a:pt x="403" y="169"/>
                  <a:pt x="403" y="169"/>
                  <a:pt x="403" y="169"/>
                </a:cubicBezTo>
                <a:cubicBezTo>
                  <a:pt x="397" y="185"/>
                  <a:pt x="394" y="188"/>
                  <a:pt x="379" y="189"/>
                </a:cubicBezTo>
                <a:cubicBezTo>
                  <a:pt x="379" y="203"/>
                  <a:pt x="379" y="203"/>
                  <a:pt x="379" y="203"/>
                </a:cubicBezTo>
                <a:cubicBezTo>
                  <a:pt x="446" y="203"/>
                  <a:pt x="446" y="203"/>
                  <a:pt x="446" y="203"/>
                </a:cubicBezTo>
                <a:lnTo>
                  <a:pt x="446" y="189"/>
                </a:lnTo>
                <a:close/>
                <a:moveTo>
                  <a:pt x="164" y="189"/>
                </a:moveTo>
                <a:cubicBezTo>
                  <a:pt x="142" y="189"/>
                  <a:pt x="137" y="184"/>
                  <a:pt x="137" y="157"/>
                </a:cubicBezTo>
                <a:cubicBezTo>
                  <a:pt x="137" y="42"/>
                  <a:pt x="137" y="42"/>
                  <a:pt x="137" y="42"/>
                </a:cubicBezTo>
                <a:cubicBezTo>
                  <a:pt x="216" y="197"/>
                  <a:pt x="216" y="197"/>
                  <a:pt x="216" y="197"/>
                </a:cubicBezTo>
                <a:cubicBezTo>
                  <a:pt x="223" y="197"/>
                  <a:pt x="223" y="197"/>
                  <a:pt x="223" y="197"/>
                </a:cubicBezTo>
                <a:cubicBezTo>
                  <a:pt x="301" y="42"/>
                  <a:pt x="301" y="42"/>
                  <a:pt x="301" y="42"/>
                </a:cubicBezTo>
                <a:cubicBezTo>
                  <a:pt x="301" y="172"/>
                  <a:pt x="301" y="172"/>
                  <a:pt x="301" y="172"/>
                </a:cubicBezTo>
                <a:cubicBezTo>
                  <a:pt x="301" y="186"/>
                  <a:pt x="299" y="188"/>
                  <a:pt x="276" y="189"/>
                </a:cubicBezTo>
                <a:cubicBezTo>
                  <a:pt x="276" y="203"/>
                  <a:pt x="276" y="203"/>
                  <a:pt x="276" y="203"/>
                </a:cubicBezTo>
                <a:cubicBezTo>
                  <a:pt x="362" y="203"/>
                  <a:pt x="362" y="203"/>
                  <a:pt x="362" y="203"/>
                </a:cubicBezTo>
                <a:cubicBezTo>
                  <a:pt x="362" y="189"/>
                  <a:pt x="362" y="189"/>
                  <a:pt x="362" y="189"/>
                </a:cubicBezTo>
                <a:cubicBezTo>
                  <a:pt x="338" y="188"/>
                  <a:pt x="336" y="186"/>
                  <a:pt x="336" y="172"/>
                </a:cubicBezTo>
                <a:cubicBezTo>
                  <a:pt x="336" y="34"/>
                  <a:pt x="336" y="34"/>
                  <a:pt x="336" y="34"/>
                </a:cubicBezTo>
                <a:cubicBezTo>
                  <a:pt x="336" y="21"/>
                  <a:pt x="338" y="19"/>
                  <a:pt x="362" y="18"/>
                </a:cubicBezTo>
                <a:cubicBezTo>
                  <a:pt x="362" y="4"/>
                  <a:pt x="362" y="4"/>
                  <a:pt x="362" y="4"/>
                </a:cubicBezTo>
                <a:cubicBezTo>
                  <a:pt x="302" y="4"/>
                  <a:pt x="302" y="4"/>
                  <a:pt x="302" y="4"/>
                </a:cubicBezTo>
                <a:cubicBezTo>
                  <a:pt x="229" y="148"/>
                  <a:pt x="229" y="148"/>
                  <a:pt x="229" y="148"/>
                </a:cubicBezTo>
                <a:cubicBezTo>
                  <a:pt x="156" y="4"/>
                  <a:pt x="156" y="4"/>
                  <a:pt x="156" y="4"/>
                </a:cubicBezTo>
                <a:cubicBezTo>
                  <a:pt x="92" y="4"/>
                  <a:pt x="92" y="4"/>
                  <a:pt x="92" y="4"/>
                </a:cubicBezTo>
                <a:cubicBezTo>
                  <a:pt x="92" y="17"/>
                  <a:pt x="92" y="17"/>
                  <a:pt x="92" y="17"/>
                </a:cubicBezTo>
                <a:cubicBezTo>
                  <a:pt x="115" y="20"/>
                  <a:pt x="119" y="22"/>
                  <a:pt x="119" y="47"/>
                </a:cubicBezTo>
                <a:cubicBezTo>
                  <a:pt x="119" y="157"/>
                  <a:pt x="119" y="157"/>
                  <a:pt x="119" y="157"/>
                </a:cubicBezTo>
                <a:cubicBezTo>
                  <a:pt x="119" y="184"/>
                  <a:pt x="114" y="189"/>
                  <a:pt x="92" y="189"/>
                </a:cubicBezTo>
                <a:cubicBezTo>
                  <a:pt x="92" y="203"/>
                  <a:pt x="92" y="203"/>
                  <a:pt x="92" y="203"/>
                </a:cubicBezTo>
                <a:cubicBezTo>
                  <a:pt x="164" y="203"/>
                  <a:pt x="164" y="203"/>
                  <a:pt x="164" y="203"/>
                </a:cubicBezTo>
                <a:lnTo>
                  <a:pt x="164" y="189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72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individual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0044" y="2215753"/>
            <a:ext cx="3402454" cy="47148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idx="12"/>
          </p:nvPr>
        </p:nvSpPr>
        <p:spPr>
          <a:xfrm>
            <a:off x="730044" y="1982393"/>
            <a:ext cx="3402454" cy="221456"/>
          </a:xfrm>
        </p:spPr>
        <p:txBody>
          <a:bodyPr anchor="t" anchorCtr="0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730044" y="1197771"/>
            <a:ext cx="7496936" cy="366712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sz="half" idx="18"/>
          </p:nvPr>
        </p:nvSpPr>
        <p:spPr>
          <a:xfrm>
            <a:off x="4831625" y="2215753"/>
            <a:ext cx="3402454" cy="47148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19"/>
          </p:nvPr>
        </p:nvSpPr>
        <p:spPr>
          <a:xfrm>
            <a:off x="4831625" y="1982393"/>
            <a:ext cx="3402454" cy="221456"/>
          </a:xfrm>
        </p:spPr>
        <p:txBody>
          <a:bodyPr anchor="t" anchorCtr="0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half" idx="20"/>
          </p:nvPr>
        </p:nvSpPr>
        <p:spPr>
          <a:xfrm>
            <a:off x="4831625" y="3173016"/>
            <a:ext cx="3402454" cy="47148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21"/>
          </p:nvPr>
        </p:nvSpPr>
        <p:spPr>
          <a:xfrm>
            <a:off x="4831625" y="2939656"/>
            <a:ext cx="3402454" cy="221456"/>
          </a:xfrm>
        </p:spPr>
        <p:txBody>
          <a:bodyPr anchor="t" anchorCtr="0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half" idx="22"/>
          </p:nvPr>
        </p:nvSpPr>
        <p:spPr>
          <a:xfrm>
            <a:off x="4831625" y="4130278"/>
            <a:ext cx="3402454" cy="47148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23"/>
          </p:nvPr>
        </p:nvSpPr>
        <p:spPr>
          <a:xfrm>
            <a:off x="4831625" y="3896918"/>
            <a:ext cx="3402454" cy="221456"/>
          </a:xfrm>
        </p:spPr>
        <p:txBody>
          <a:bodyPr anchor="t" anchorCtr="0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sz="half" idx="24"/>
          </p:nvPr>
        </p:nvSpPr>
        <p:spPr>
          <a:xfrm>
            <a:off x="730044" y="3173016"/>
            <a:ext cx="3402454" cy="47148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5"/>
          </p:nvPr>
        </p:nvSpPr>
        <p:spPr>
          <a:xfrm>
            <a:off x="730044" y="2939656"/>
            <a:ext cx="3402454" cy="221456"/>
          </a:xfrm>
        </p:spPr>
        <p:txBody>
          <a:bodyPr anchor="t" anchorCtr="0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26"/>
          </p:nvPr>
        </p:nvSpPr>
        <p:spPr>
          <a:xfrm>
            <a:off x="730044" y="4130278"/>
            <a:ext cx="3402454" cy="471488"/>
          </a:xfrm>
        </p:spPr>
        <p:txBody>
          <a:bodyPr tIns="68589"/>
          <a:lstStyle>
            <a:lvl1pPr marL="0" indent="0">
              <a:spcBef>
                <a:spcPts val="0"/>
              </a:spcBef>
              <a:buNone/>
              <a:defRPr sz="1400"/>
            </a:lvl1pPr>
            <a:lvl2pPr marL="342946" indent="0">
              <a:buNone/>
              <a:defRPr sz="1400"/>
            </a:lvl2pPr>
            <a:lvl3pPr marL="685891" indent="0">
              <a:buNone/>
              <a:defRPr sz="1400"/>
            </a:lvl3pPr>
            <a:lvl4pPr marL="1028837" indent="0">
              <a:buNone/>
              <a:defRPr sz="1400"/>
            </a:lvl4pPr>
            <a:lvl5pPr marL="1371783" indent="0">
              <a:buNone/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27"/>
          </p:nvPr>
        </p:nvSpPr>
        <p:spPr>
          <a:xfrm>
            <a:off x="730044" y="3896918"/>
            <a:ext cx="3402454" cy="221456"/>
          </a:xfrm>
        </p:spPr>
        <p:txBody>
          <a:bodyPr anchor="t" anchorCtr="0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872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6738" y="1488282"/>
            <a:ext cx="3580809" cy="221456"/>
          </a:xfrm>
        </p:spPr>
        <p:txBody>
          <a:bodyPr anchor="t" anchorCtr="0"/>
          <a:lstStyle>
            <a:lvl1pPr marL="0" indent="0">
              <a:buNone/>
              <a:defRPr sz="15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6738" y="1707356"/>
            <a:ext cx="3580809" cy="2778919"/>
          </a:xfrm>
        </p:spPr>
        <p:txBody>
          <a:bodyPr tIns="68589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31625" y="1488282"/>
            <a:ext cx="3580809" cy="221456"/>
          </a:xfrm>
        </p:spPr>
        <p:txBody>
          <a:bodyPr anchor="t" anchorCtr="0"/>
          <a:lstStyle>
            <a:lvl1pPr marL="0" indent="0">
              <a:buNone/>
              <a:defRPr sz="15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31625" y="1707356"/>
            <a:ext cx="3580809" cy="2778919"/>
          </a:xfrm>
        </p:spPr>
        <p:txBody>
          <a:bodyPr tIns="68589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30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0/40 Title and Content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5419946" y="0"/>
            <a:ext cx="3724054" cy="51435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5" y="402433"/>
            <a:ext cx="4101580" cy="44053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5" y="1488281"/>
            <a:ext cx="4101581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5816528" y="1488281"/>
            <a:ext cx="2935655" cy="2990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838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0/60 Title and Two Content Comparison_blu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313183" y="0"/>
            <a:ext cx="5830818" cy="51435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5" y="1774629"/>
            <a:ext cx="2306841" cy="1594247"/>
          </a:xfrm>
        </p:spPr>
        <p:txBody>
          <a:bodyPr tIns="0" bIns="0" anchor="ctr" anchorCtr="0"/>
          <a:lstStyle>
            <a:lvl1pPr>
              <a:defRPr sz="2400"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 rot="16200000">
            <a:off x="-1218710" y="2521732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3744301" y="407195"/>
            <a:ext cx="2359242" cy="578644"/>
          </a:xfrm>
        </p:spPr>
        <p:txBody>
          <a:bodyPr bIns="0" anchor="b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3744301" y="1197769"/>
            <a:ext cx="2359242" cy="2990088"/>
          </a:xfrm>
        </p:spPr>
        <p:txBody>
          <a:bodyPr tIns="68589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buClrTx/>
              <a:defRPr sz="1400">
                <a:solidFill>
                  <a:schemeClr val="tx1"/>
                </a:solidFill>
              </a:defRPr>
            </a:lvl2pPr>
            <a:lvl3pPr>
              <a:buClrTx/>
              <a:defRPr sz="1400">
                <a:solidFill>
                  <a:schemeClr val="tx1"/>
                </a:solidFill>
              </a:defRPr>
            </a:lvl3pPr>
            <a:lvl4pPr>
              <a:buClrTx/>
              <a:defRPr sz="1400">
                <a:solidFill>
                  <a:schemeClr val="tx1"/>
                </a:solidFill>
              </a:defRPr>
            </a:lvl4pPr>
            <a:lvl5pPr>
              <a:buClrTx/>
              <a:defRPr sz="1400">
                <a:solidFill>
                  <a:schemeClr val="tx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2"/>
          </p:nvPr>
        </p:nvSpPr>
        <p:spPr>
          <a:xfrm>
            <a:off x="6395324" y="407195"/>
            <a:ext cx="2359242" cy="578644"/>
          </a:xfrm>
        </p:spPr>
        <p:txBody>
          <a:bodyPr bIns="0" anchor="b" anchorCtr="0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342976" indent="0">
              <a:buNone/>
              <a:defRPr sz="1500" b="1"/>
            </a:lvl2pPr>
            <a:lvl3pPr marL="685954" indent="0">
              <a:buNone/>
              <a:defRPr sz="1400" b="1"/>
            </a:lvl3pPr>
            <a:lvl4pPr marL="1028931" indent="0">
              <a:buNone/>
              <a:defRPr sz="1200" b="1"/>
            </a:lvl4pPr>
            <a:lvl5pPr marL="1371909" indent="0">
              <a:buNone/>
              <a:defRPr sz="1200" b="1"/>
            </a:lvl5pPr>
            <a:lvl6pPr marL="1714885" indent="0">
              <a:buNone/>
              <a:defRPr sz="1200" b="1"/>
            </a:lvl6pPr>
            <a:lvl7pPr marL="2057863" indent="0">
              <a:buNone/>
              <a:defRPr sz="1200" b="1"/>
            </a:lvl7pPr>
            <a:lvl8pPr marL="2400840" indent="0">
              <a:buNone/>
              <a:defRPr sz="1200" b="1"/>
            </a:lvl8pPr>
            <a:lvl9pPr marL="274381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3"/>
          </p:nvPr>
        </p:nvSpPr>
        <p:spPr>
          <a:xfrm>
            <a:off x="6395324" y="1197769"/>
            <a:ext cx="2359242" cy="2990088"/>
          </a:xfrm>
        </p:spPr>
        <p:txBody>
          <a:bodyPr vert="horz" lIns="0" tIns="68589" rIns="0" bIns="34298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reeform 15"/>
          <p:cNvSpPr/>
          <p:nvPr/>
        </p:nvSpPr>
        <p:spPr>
          <a:xfrm>
            <a:off x="3737154" y="1091803"/>
            <a:ext cx="5001928" cy="0"/>
          </a:xfrm>
          <a:custGeom>
            <a:avLst/>
            <a:gdLst>
              <a:gd name="connsiteX0" fmla="*/ 0 w 6667500"/>
              <a:gd name="connsiteY0" fmla="*/ 0 h 0"/>
              <a:gd name="connsiteX1" fmla="*/ 6667500 w 6667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667500">
                <a:moveTo>
                  <a:pt x="0" y="0"/>
                </a:moveTo>
                <a:lnTo>
                  <a:pt x="6667500" y="0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56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123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69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bjective blac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313183" y="0"/>
            <a:ext cx="5830818" cy="51435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6" y="1774629"/>
            <a:ext cx="2299695" cy="1594247"/>
          </a:xfrm>
        </p:spPr>
        <p:txBody>
          <a:bodyPr tIns="0" bIns="0"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16200000">
            <a:off x="-1218710" y="2521732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Content Placeholder 3"/>
          <p:cNvSpPr>
            <a:spLocks noGrp="1"/>
          </p:cNvSpPr>
          <p:nvPr>
            <p:ph sz="half" idx="13"/>
          </p:nvPr>
        </p:nvSpPr>
        <p:spPr>
          <a:xfrm>
            <a:off x="3744300" y="1197769"/>
            <a:ext cx="5010265" cy="274796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lnSpc>
                <a:spcPct val="125000"/>
              </a:lnSpc>
              <a:buNone/>
              <a:defRPr lang="en-US" sz="1700" dirty="0" smtClean="0">
                <a:solidFill>
                  <a:schemeClr val="tx1"/>
                </a:solidFill>
              </a:defRPr>
            </a:lvl1pPr>
            <a:lvl2pPr marL="342946" indent="0">
              <a:buClr>
                <a:schemeClr val="tx1"/>
              </a:buClr>
              <a:buNone/>
              <a:defRPr lang="en-US" sz="1700" dirty="0" smtClean="0"/>
            </a:lvl2pPr>
            <a:lvl3pPr marL="685891" indent="0">
              <a:buClr>
                <a:schemeClr val="tx1"/>
              </a:buClr>
              <a:buNone/>
              <a:defRPr lang="en-US" sz="1700" dirty="0" smtClean="0"/>
            </a:lvl3pPr>
            <a:lvl4pPr marL="1028837" indent="0">
              <a:buClr>
                <a:schemeClr val="tx1"/>
              </a:buClr>
              <a:buNone/>
              <a:defRPr lang="en-US" sz="1700" dirty="0" smtClean="0"/>
            </a:lvl4pPr>
            <a:lvl5pPr marL="1371783" indent="0">
              <a:buClr>
                <a:schemeClr val="tx1"/>
              </a:buClr>
              <a:buNone/>
              <a:defRPr lang="en-US" sz="1700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068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50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ayo 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79372" y="2050257"/>
            <a:ext cx="3340574" cy="1028700"/>
          </a:xfrm>
        </p:spPr>
        <p:txBody>
          <a:bodyPr anchor="ctr" anchorCtr="0"/>
          <a:lstStyle>
            <a:lvl1pPr algn="l"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 rot="16200000">
            <a:off x="-1218710" y="2521732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881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ayo 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79372" y="2050257"/>
            <a:ext cx="3340574" cy="1028700"/>
          </a:xfrm>
        </p:spPr>
        <p:txBody>
          <a:bodyPr anchor="ctr" anchorCtr="0"/>
          <a:lstStyle>
            <a:lvl1pPr algn="l"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rot="16200000">
            <a:off x="-1218710" y="2521732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747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15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6694783" y="402432"/>
            <a:ext cx="2057400" cy="4076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0044" y="402432"/>
            <a:ext cx="5695866" cy="4076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07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"/>
            <a:ext cx="9153144" cy="51503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802" y="429562"/>
            <a:ext cx="8281434" cy="927636"/>
          </a:xfrm>
        </p:spPr>
        <p:txBody>
          <a:bodyPr anchor="t">
            <a:noAutofit/>
          </a:bodyPr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FD4C1-4FB0-4A54-B2CA-9A639254F9DA}" type="datetime1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12150" y="4480561"/>
            <a:ext cx="529878" cy="39126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685891"/>
            <a:fld id="{971821A3-96FC-1243-9172-4303A46FC069}" type="slidenum">
              <a:rPr lang="en-US" sz="1400">
                <a:solidFill>
                  <a:srgbClr val="000000"/>
                </a:solidFill>
              </a:rPr>
              <a:pPr defTabSz="685891"/>
              <a:t>‹#›</a:t>
            </a:fld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064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w/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BFEA7C-C729-492E-8D87-D2CF17BC662A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685891"/>
            <a:endParaRPr 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59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039" y="-22685"/>
            <a:ext cx="9202604" cy="51781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726" y="1477639"/>
            <a:ext cx="5335437" cy="2524279"/>
          </a:xfrm>
        </p:spPr>
        <p:txBody>
          <a:bodyPr anchor="b">
            <a:no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2727" y="4001920"/>
            <a:ext cx="4421037" cy="591747"/>
          </a:xfr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342886" indent="0" algn="ctr">
              <a:buNone/>
              <a:defRPr sz="1500"/>
            </a:lvl2pPr>
            <a:lvl3pPr marL="685771" indent="0" algn="ctr">
              <a:buNone/>
              <a:defRPr sz="1400"/>
            </a:lvl3pPr>
            <a:lvl4pPr marL="1028657" indent="0" algn="ctr">
              <a:buNone/>
              <a:defRPr sz="1200"/>
            </a:lvl4pPr>
            <a:lvl5pPr marL="1371543" indent="0" algn="ctr">
              <a:buNone/>
              <a:defRPr sz="1200"/>
            </a:lvl5pPr>
            <a:lvl6pPr marL="1714429" indent="0" algn="ctr">
              <a:buNone/>
              <a:defRPr sz="1200"/>
            </a:lvl6pPr>
            <a:lvl7pPr marL="2057314" indent="0" algn="ctr">
              <a:buNone/>
              <a:defRPr sz="1200"/>
            </a:lvl7pPr>
            <a:lvl8pPr marL="2400200" indent="0" algn="ctr">
              <a:buNone/>
              <a:defRPr sz="1200"/>
            </a:lvl8pPr>
            <a:lvl9pPr marL="2743086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893B2F-5C10-4BED-9972-949AAFB812D4}" type="datetime1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12150" y="4480561"/>
            <a:ext cx="529878" cy="39126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685891"/>
            <a:fld id="{971821A3-96FC-1243-9172-4303A46FC069}" type="slidenum">
              <a:rPr lang="en-US" sz="1400">
                <a:solidFill>
                  <a:srgbClr val="000000"/>
                </a:solidFill>
              </a:rPr>
              <a:pPr defTabSz="685891"/>
              <a:t>‹#›</a:t>
            </a:fld>
            <a:endParaRPr lang="en-US" sz="1400">
              <a:solidFill>
                <a:srgbClr val="0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ECEF940-D28D-4240-974A-98572DFB9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205" y="341796"/>
            <a:ext cx="742403" cy="81114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5D6A7AA-23BE-6446-9903-C027F1D648B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843" b="15075"/>
          <a:stretch/>
        </p:blipFill>
        <p:spPr>
          <a:xfrm>
            <a:off x="6301402" y="2236894"/>
            <a:ext cx="2839638" cy="2906606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7671092" y="1180865"/>
            <a:ext cx="2280764" cy="35623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886" indent="0">
              <a:buNone/>
              <a:defRPr/>
            </a:lvl2pPr>
            <a:lvl3pPr marL="685771" indent="0">
              <a:buNone/>
              <a:defRPr/>
            </a:lvl3pPr>
            <a:lvl4pPr marL="1028657" indent="0">
              <a:buNone/>
              <a:defRPr/>
            </a:lvl4pPr>
            <a:lvl5pPr marL="1371543" indent="0">
              <a:buNone/>
              <a:defRPr/>
            </a:lvl5pPr>
          </a:lstStyle>
          <a:p>
            <a:pPr lvl="0"/>
            <a:r>
              <a:rPr lang="en-US"/>
              <a:t>Add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414311453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9153144" cy="51503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700" y="3"/>
            <a:ext cx="8240506" cy="866203"/>
          </a:xfrm>
        </p:spPr>
        <p:txBody>
          <a:bodyPr anchor="b">
            <a:noAutofit/>
          </a:bodyPr>
          <a:lstStyle>
            <a:lvl1pPr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506" y="1486180"/>
            <a:ext cx="7886700" cy="3000878"/>
          </a:xfrm>
        </p:spPr>
        <p:txBody>
          <a:bodyPr>
            <a:noAutofit/>
          </a:bodyPr>
          <a:lstStyle>
            <a:lvl1pPr marL="182872" indent="-182872">
              <a:defRPr b="1"/>
            </a:lvl1pPr>
            <a:lvl2pPr marL="365745" indent="-182872">
              <a:tabLst/>
              <a:defRPr sz="1400"/>
            </a:lvl2pPr>
            <a:lvl3pPr marL="548617" indent="-182872">
              <a:defRPr sz="1400"/>
            </a:lvl3pPr>
            <a:lvl4pPr marL="731489" indent="-182872">
              <a:defRPr sz="1400"/>
            </a:lvl4pPr>
            <a:lvl5pPr marL="914362" indent="-182872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F0565D-CDDC-4FDC-A068-42DC92C6A567}" type="datetime1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12150" y="4480561"/>
            <a:ext cx="529878" cy="39126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685891"/>
            <a:fld id="{971821A3-96FC-1243-9172-4303A46FC069}" type="slidenum">
              <a:rPr lang="en-US" sz="1400">
                <a:solidFill>
                  <a:srgbClr val="000000"/>
                </a:solidFill>
              </a:rPr>
              <a:pPr defTabSz="685891"/>
              <a:t>‹#›</a:t>
            </a:fld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29614" y="866204"/>
            <a:ext cx="8234593" cy="351664"/>
          </a:xfrm>
        </p:spPr>
        <p:txBody>
          <a:bodyPr/>
          <a:lstStyle>
            <a:lvl1pPr marL="0" indent="0">
              <a:buNone/>
              <a:defRPr sz="1400"/>
            </a:lvl1pPr>
            <a:lvl2pPr marL="342886" indent="0">
              <a:buNone/>
              <a:defRPr/>
            </a:lvl2pPr>
            <a:lvl3pPr marL="685771" indent="0">
              <a:buNone/>
              <a:defRPr/>
            </a:lvl3pPr>
            <a:lvl4pPr marL="1028657" indent="0">
              <a:buNone/>
              <a:defRPr/>
            </a:lvl4pPr>
            <a:lvl5pPr marL="137154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12337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53144" cy="515031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700" y="3"/>
            <a:ext cx="8240506" cy="866203"/>
          </a:xfrm>
        </p:spPr>
        <p:txBody>
          <a:bodyPr anchor="b">
            <a:noAutofit/>
          </a:bodyPr>
          <a:lstStyle>
            <a:lvl1pPr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506" y="1486181"/>
            <a:ext cx="7886700" cy="3082159"/>
          </a:xfrm>
        </p:spPr>
        <p:txBody>
          <a:bodyPr>
            <a:noAutofit/>
          </a:bodyPr>
          <a:lstStyle>
            <a:lvl1pPr marL="182872" indent="-182872">
              <a:defRPr b="1"/>
            </a:lvl1pPr>
            <a:lvl2pPr marL="365745" indent="-182872">
              <a:tabLst/>
              <a:defRPr sz="1400"/>
            </a:lvl2pPr>
            <a:lvl3pPr marL="548617" indent="-182872">
              <a:defRPr sz="1400"/>
            </a:lvl3pPr>
            <a:lvl4pPr marL="731489" indent="-182872">
              <a:defRPr sz="1400"/>
            </a:lvl4pPr>
            <a:lvl5pPr marL="914362" indent="-182872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AA8C0F-6163-4053-860D-4A28721185AD}" type="datetime1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12150" y="4480561"/>
            <a:ext cx="529878" cy="39126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685891"/>
            <a:fld id="{971821A3-96FC-1243-9172-4303A46FC069}" type="slidenum">
              <a:rPr lang="en-US" sz="1400">
                <a:solidFill>
                  <a:srgbClr val="000000"/>
                </a:solidFill>
              </a:rPr>
              <a:pPr defTabSz="685891"/>
              <a:t>‹#›</a:t>
            </a:fld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29614" y="866204"/>
            <a:ext cx="8234593" cy="351664"/>
          </a:xfrm>
        </p:spPr>
        <p:txBody>
          <a:bodyPr/>
          <a:lstStyle>
            <a:lvl1pPr marL="0" indent="0">
              <a:buNone/>
              <a:defRPr sz="1400"/>
            </a:lvl1pPr>
            <a:lvl2pPr marL="342886" indent="0">
              <a:buNone/>
              <a:defRPr/>
            </a:lvl2pPr>
            <a:lvl3pPr marL="685771" indent="0">
              <a:buNone/>
              <a:defRPr/>
            </a:lvl3pPr>
            <a:lvl4pPr marL="1028657" indent="0">
              <a:buNone/>
              <a:defRPr/>
            </a:lvl4pPr>
            <a:lvl5pPr marL="137154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6188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3744300" y="0"/>
            <a:ext cx="53997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1774629"/>
            <a:ext cx="2742723" cy="1594247"/>
          </a:xfrm>
        </p:spPr>
        <p:txBody>
          <a:bodyPr tIns="0" bIns="0" anchor="ctr" anchorCtr="0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0045" y="3629025"/>
            <a:ext cx="2749869" cy="957263"/>
          </a:xfrm>
        </p:spPr>
        <p:txBody>
          <a:bodyPr/>
          <a:lstStyle>
            <a:lvl1pPr marL="0" indent="0">
              <a:buNone/>
              <a:defRPr/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6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FDC1B7-C810-4FE5-A340-063DCFB03A71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DD6EE">
              <a:alpha val="1529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023" tIns="25512" rIns="51023" bIns="25512" rtlCol="0" anchor="ctr"/>
          <a:lstStyle/>
          <a:p>
            <a:pPr algn="ctr" defTabSz="685891"/>
            <a:endParaRPr lang="en-US" sz="1700">
              <a:solidFill>
                <a:srgbClr val="000000"/>
              </a:solidFill>
            </a:endParaRPr>
          </a:p>
        </p:txBody>
      </p:sp>
      <p:pic>
        <p:nvPicPr>
          <p:cNvPr id="7" name="Picture Placeholder 17">
            <a:extLst>
              <a:ext uri="{FF2B5EF4-FFF2-40B4-BE49-F238E27FC236}">
                <a16:creationId xmlns:a16="http://schemas.microsoft.com/office/drawing/2014/main" id="{740793FC-67F1-46E2-8127-FF01633E8D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" b="86"/>
          <a:stretch>
            <a:fillRect/>
          </a:stretch>
        </p:blipFill>
        <p:spPr>
          <a:xfrm>
            <a:off x="4572000" y="495301"/>
            <a:ext cx="4160120" cy="4152899"/>
          </a:xfrm>
          <a:prstGeom prst="rect">
            <a:avLst/>
          </a:prstGeom>
        </p:spPr>
      </p:pic>
      <p:sp>
        <p:nvSpPr>
          <p:cNvPr id="8" name="Title 17">
            <a:extLst>
              <a:ext uri="{FF2B5EF4-FFF2-40B4-BE49-F238E27FC236}">
                <a16:creationId xmlns:a16="http://schemas.microsoft.com/office/drawing/2014/main" id="{BFB4C3AF-2F6A-4FF2-88CE-BFBDFEB51E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38" y="1659637"/>
            <a:ext cx="4114927" cy="2036465"/>
          </a:xfrm>
        </p:spPr>
        <p:txBody>
          <a:bodyPr anchor="ctr"/>
          <a:lstStyle/>
          <a:p>
            <a:endParaRPr lang="en-US">
              <a:solidFill>
                <a:srgbClr val="025487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C5366A-F564-48E4-98F0-6F8145F9A873}"/>
              </a:ext>
            </a:extLst>
          </p:cNvPr>
          <p:cNvCxnSpPr>
            <a:cxnSpLocks/>
          </p:cNvCxnSpPr>
          <p:nvPr userDrawn="1"/>
        </p:nvCxnSpPr>
        <p:spPr>
          <a:xfrm>
            <a:off x="510667" y="2133337"/>
            <a:ext cx="526735" cy="0"/>
          </a:xfrm>
          <a:prstGeom prst="line">
            <a:avLst/>
          </a:prstGeom>
          <a:ln w="57150">
            <a:solidFill>
              <a:srgbClr val="0254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2653732-A931-46C4-A2CD-1809E13FC9DD}"/>
              </a:ext>
            </a:extLst>
          </p:cNvPr>
          <p:cNvSpPr txBox="1"/>
          <p:nvPr userDrawn="1"/>
        </p:nvSpPr>
        <p:spPr>
          <a:xfrm>
            <a:off x="472487" y="1812297"/>
            <a:ext cx="3347259" cy="159244"/>
          </a:xfrm>
          <a:prstGeom prst="rect">
            <a:avLst/>
          </a:prstGeom>
          <a:noFill/>
        </p:spPr>
        <p:txBody>
          <a:bodyPr wrap="square" lIns="51023" tIns="25512" rIns="51023" bIns="25512" rtlCol="0">
            <a:spAutoFit/>
          </a:bodyPr>
          <a:lstStyle/>
          <a:p>
            <a:pPr defTabSz="685891"/>
            <a:r>
              <a:rPr lang="en-US" sz="700" spc="214">
                <a:solidFill>
                  <a:srgbClr val="025487"/>
                </a:solidFill>
                <a:cs typeface="Arial" panose="020B0604020202020204" pitchFamily="34" charset="0"/>
              </a:rPr>
              <a:t>MAYO CLINIC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6720D4-4C15-4A88-B39F-94C0F92209E8}"/>
              </a:ext>
            </a:extLst>
          </p:cNvPr>
          <p:cNvSpPr/>
          <p:nvPr userDrawn="1"/>
        </p:nvSpPr>
        <p:spPr>
          <a:xfrm>
            <a:off x="313267" y="4781382"/>
            <a:ext cx="2997200" cy="259726"/>
          </a:xfrm>
          <a:prstGeom prst="rect">
            <a:avLst/>
          </a:prstGeom>
          <a:solidFill>
            <a:srgbClr val="EEFA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023" tIns="25512" rIns="51023" bIns="25512" rtlCol="0" anchor="ctr"/>
          <a:lstStyle/>
          <a:p>
            <a:pPr algn="ctr" defTabSz="685891"/>
            <a:endParaRPr lang="en-US" sz="1700">
              <a:solidFill>
                <a:srgbClr val="0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38F2A-E134-4488-A9CE-F1F2AA57FA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81" b="31056"/>
          <a:stretch/>
        </p:blipFill>
        <p:spPr>
          <a:xfrm>
            <a:off x="510666" y="4545989"/>
            <a:ext cx="1053469" cy="432585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E1066FB-E56A-4A49-972F-10C1E851DD3B}"/>
              </a:ext>
            </a:extLst>
          </p:cNvPr>
          <p:cNvCxnSpPr/>
          <p:nvPr userDrawn="1"/>
        </p:nvCxnSpPr>
        <p:spPr>
          <a:xfrm>
            <a:off x="1634755" y="4545989"/>
            <a:ext cx="0" cy="33492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AEEC102-4601-458A-83F1-06F76BA96AA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762126" y="4648201"/>
            <a:ext cx="720090" cy="133919"/>
          </a:xfrm>
          <a:prstGeom prst="rect">
            <a:avLst/>
          </a:prstGeom>
        </p:spPr>
      </p:pic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8DEB4B50-5CE7-45BA-BBF5-4705E3836A4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10666" y="3415810"/>
            <a:ext cx="3347259" cy="228532"/>
          </a:xfrm>
          <a:noFill/>
        </p:spPr>
        <p:txBody>
          <a:bodyPr wrap="square" rtlCol="0">
            <a:spAutoFit/>
          </a:bodyPr>
          <a:lstStyle>
            <a:lvl1pPr>
              <a:defRPr lang="en-US" b="1" dirty="0" smtClean="0">
                <a:solidFill>
                  <a:srgbClr val="025487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831656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38" y="275517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49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A7448C-0FA3-4D47-B393-A8EEECE31EA1}"/>
              </a:ext>
            </a:extLst>
          </p:cNvPr>
          <p:cNvSpPr/>
          <p:nvPr userDrawn="1"/>
        </p:nvSpPr>
        <p:spPr>
          <a:xfrm>
            <a:off x="0" y="4774553"/>
            <a:ext cx="9144000" cy="3708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023" tIns="25512" rIns="51023" bIns="25512" rtlCol="0" anchor="ctr"/>
          <a:lstStyle/>
          <a:p>
            <a:pPr algn="ctr" defTabSz="685891"/>
            <a:endParaRPr lang="en-US" sz="1700">
              <a:solidFill>
                <a:srgbClr val="000000"/>
              </a:solidFill>
            </a:endParaRPr>
          </a:p>
        </p:txBody>
      </p:sp>
      <p:pic>
        <p:nvPicPr>
          <p:cNvPr id="8" name="Picture 7" descr="Image result for mayo clinic logo white">
            <a:extLst>
              <a:ext uri="{FF2B5EF4-FFF2-40B4-BE49-F238E27FC236}">
                <a16:creationId xmlns:a16="http://schemas.microsoft.com/office/drawing/2014/main" id="{48FBFBC1-E387-47C1-B31D-41119B6F478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16" y="4842365"/>
            <a:ext cx="366810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1FDC076-B8DB-4FE2-B58D-B5F4F8E40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b="54747"/>
          <a:stretch/>
        </p:blipFill>
        <p:spPr>
          <a:xfrm>
            <a:off x="439952" y="4842365"/>
            <a:ext cx="495398" cy="24427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6B4E4E5-28DD-4D3E-8E32-4184058834C7}"/>
              </a:ext>
            </a:extLst>
          </p:cNvPr>
          <p:cNvCxnSpPr/>
          <p:nvPr userDrawn="1"/>
        </p:nvCxnSpPr>
        <p:spPr>
          <a:xfrm>
            <a:off x="1022600" y="4842365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2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7F802033-D9A4-4A74-B493-83349CD30F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9851" y="4808112"/>
            <a:ext cx="7145790" cy="303775"/>
          </a:xfrm>
        </p:spPr>
        <p:txBody>
          <a:bodyPr>
            <a:normAutofit/>
          </a:bodyPr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283221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932666-F142-614B-BF5C-5AEF59CFA8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38" y="1659637"/>
            <a:ext cx="8346186" cy="1864376"/>
          </a:xfrm>
        </p:spPr>
        <p:txBody>
          <a:bodyPr anchor="ctr">
            <a:normAutofit/>
          </a:bodyPr>
          <a:lstStyle>
            <a:lvl1pPr algn="l">
              <a:defRPr lang="en-US" sz="2300" b="1" i="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93500F8-B093-47F1-B1A1-7448B35B2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38" y="275517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49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15C093-9ACC-47C3-B8B1-4DDAFE05781C}"/>
              </a:ext>
            </a:extLst>
          </p:cNvPr>
          <p:cNvSpPr/>
          <p:nvPr userDrawn="1"/>
        </p:nvSpPr>
        <p:spPr>
          <a:xfrm>
            <a:off x="0" y="4774553"/>
            <a:ext cx="9144000" cy="3708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023" tIns="25512" rIns="51023" bIns="25512" rtlCol="0" anchor="ctr"/>
          <a:lstStyle/>
          <a:p>
            <a:pPr algn="ctr" defTabSz="685891"/>
            <a:endParaRPr lang="en-US" sz="1700">
              <a:solidFill>
                <a:srgbClr val="000000"/>
              </a:solidFill>
            </a:endParaRPr>
          </a:p>
        </p:txBody>
      </p:sp>
      <p:pic>
        <p:nvPicPr>
          <p:cNvPr id="7" name="Picture 6" descr="Image result for mayo clinic logo white">
            <a:extLst>
              <a:ext uri="{FF2B5EF4-FFF2-40B4-BE49-F238E27FC236}">
                <a16:creationId xmlns:a16="http://schemas.microsoft.com/office/drawing/2014/main" id="{92AF4C93-44A5-4B2A-81C5-EA900067D0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16" y="4842365"/>
            <a:ext cx="366810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21BD9C-8EFC-4F55-A5A0-487DB528DE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b="54747"/>
          <a:stretch/>
        </p:blipFill>
        <p:spPr>
          <a:xfrm>
            <a:off x="439952" y="4842365"/>
            <a:ext cx="495398" cy="24427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6B63FC-B3C9-4305-9F23-D9236CCD28B2}"/>
              </a:ext>
            </a:extLst>
          </p:cNvPr>
          <p:cNvCxnSpPr/>
          <p:nvPr userDrawn="1"/>
        </p:nvCxnSpPr>
        <p:spPr>
          <a:xfrm>
            <a:off x="1022600" y="4842365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74CB338-BF26-45E4-B828-EA4479E26FD1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2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5DF25856-9982-4FD8-9269-5D381E66AA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9851" y="4808112"/>
            <a:ext cx="7145790" cy="303775"/>
          </a:xfrm>
        </p:spPr>
        <p:txBody>
          <a:bodyPr>
            <a:normAutofit/>
          </a:bodyPr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995353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6361438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59744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668261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3564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0666420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9779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1697584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997162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029519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10991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816538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767533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7425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_blu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4575478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4568522" y="0"/>
            <a:ext cx="457547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06110" y="402433"/>
            <a:ext cx="8346073" cy="4350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808438"/>
            <a:ext cx="7507655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4" y="1599010"/>
            <a:ext cx="7507655" cy="2751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D2D2D2"/>
                </a:solidFill>
              </a:rPr>
              <a:pPr/>
              <a:t>10/17/2023</a:t>
            </a:fld>
            <a:endParaRPr lang="en-US">
              <a:solidFill>
                <a:srgbClr val="D2D2D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D2D2D2"/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D2D2D2"/>
                </a:solidFill>
              </a:rPr>
              <a:pPr defTabSz="914362"/>
              <a:t>‹#›</a:t>
            </a:fld>
            <a:endParaRPr lang="en-US" sz="500">
              <a:solidFill>
                <a:srgbClr val="D2D2D2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6401" y="4601766"/>
            <a:ext cx="6553200" cy="274320"/>
          </a:xfrm>
          <a:prstGeom prst="rect">
            <a:avLst/>
          </a:prstGeom>
        </p:spPr>
        <p:txBody>
          <a:bodyPr vert="horz" lIns="0" tIns="34298" rIns="0" bIns="0" rtlCol="0" anchor="t" anchorCtr="0"/>
          <a:lstStyle>
            <a:lvl1pPr algn="r">
              <a:lnSpc>
                <a:spcPct val="90000"/>
              </a:lnSpc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631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4176278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567835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3259655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20397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64C2D7-28A4-4A88-87E5-392B99796A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713897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64C2D7-28A4-4A88-87E5-392B99796A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717CB9-802D-4D9D-84DC-5CC61C77A2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932666-F142-614B-BF5C-5AEF59CFA8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338" y="1659641"/>
            <a:ext cx="8346186" cy="1864376"/>
          </a:xfrm>
        </p:spPr>
        <p:txBody>
          <a:bodyPr anchor="ctr">
            <a:normAutofit/>
          </a:bodyPr>
          <a:lstStyle>
            <a:lvl1pPr algn="l">
              <a:defRPr lang="en-US" sz="2300" b="1" i="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93500F8-B093-47F1-B1A1-7448B35B2C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15C093-9ACC-47C3-B8B1-4DDAFE05781C}"/>
              </a:ext>
            </a:extLst>
          </p:cNvPr>
          <p:cNvSpPr/>
          <p:nvPr userDrawn="1"/>
        </p:nvSpPr>
        <p:spPr>
          <a:xfrm>
            <a:off x="0" y="4774555"/>
            <a:ext cx="9144000" cy="37089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023" tIns="25512" rIns="51023" bIns="25512" rtlCol="0" anchor="ctr"/>
          <a:lstStyle/>
          <a:p>
            <a:pPr algn="ctr" defTabSz="685891"/>
            <a:endParaRPr lang="en-US" sz="1700">
              <a:solidFill>
                <a:srgbClr val="000000"/>
              </a:solidFill>
            </a:endParaRPr>
          </a:p>
        </p:txBody>
      </p:sp>
      <p:pic>
        <p:nvPicPr>
          <p:cNvPr id="7" name="Picture 6" descr="Image result for mayo clinic logo white">
            <a:extLst>
              <a:ext uri="{FF2B5EF4-FFF2-40B4-BE49-F238E27FC236}">
                <a16:creationId xmlns:a16="http://schemas.microsoft.com/office/drawing/2014/main" id="{92AF4C93-44A5-4B2A-81C5-EA900067D03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518" r="69629" b="39258"/>
          <a:stretch/>
        </p:blipFill>
        <p:spPr bwMode="auto">
          <a:xfrm>
            <a:off x="61818" y="4842369"/>
            <a:ext cx="366809" cy="24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C21BD9C-8EFC-4F55-A5A0-487DB528DE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b="54747"/>
          <a:stretch/>
        </p:blipFill>
        <p:spPr>
          <a:xfrm>
            <a:off x="439955" y="4842369"/>
            <a:ext cx="495397" cy="24427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6B63FC-B3C9-4305-9F23-D9236CCD28B2}"/>
              </a:ext>
            </a:extLst>
          </p:cNvPr>
          <p:cNvCxnSpPr/>
          <p:nvPr userDrawn="1"/>
        </p:nvCxnSpPr>
        <p:spPr>
          <a:xfrm>
            <a:off x="1022599" y="4842369"/>
            <a:ext cx="0" cy="2442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74CB338-BF26-45E4-B828-EA4479E26FD1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5DF25856-9982-4FD8-9269-5D381E66AA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09852" y="4808115"/>
            <a:ext cx="7145790" cy="303775"/>
          </a:xfrm>
        </p:spPr>
        <p:txBody>
          <a:bodyPr>
            <a:normAutofit/>
          </a:bodyPr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85631458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9883217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4407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6520582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941702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416165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112799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9166A-3238-4A31-AC86-1F9EE3264E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3454986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9166A-3238-4A31-AC86-1F9EE3264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EE8655-2702-40D1-B213-EBA781C850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11906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9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370B7E-89D9-7047-B8CC-5D3457A0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1700" b="0"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76193A6-940B-4A61-9BB2-79AF7F8C9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8341" y="275519"/>
            <a:ext cx="6025224" cy="211402"/>
          </a:xfrm>
        </p:spPr>
        <p:txBody>
          <a:bodyPr>
            <a:normAutofit/>
          </a:bodyPr>
          <a:lstStyle>
            <a:lvl1pPr>
              <a:defRPr lang="en-US" sz="700" b="0" i="0" kern="1200" spc="214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50523" rtl="0" eaLnBrk="1" fontAlgn="auto" latinLnBrk="0" hangingPunct="1">
              <a:lnSpc>
                <a:spcPct val="90000"/>
              </a:lnSpc>
              <a:spcBef>
                <a:spcPts val="71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52AB741-3CED-49FC-8DFA-AF979451FDC5}"/>
              </a:ext>
            </a:extLst>
          </p:cNvPr>
          <p:cNvSpPr txBox="1">
            <a:spLocks/>
          </p:cNvSpPr>
          <p:nvPr userDrawn="1"/>
        </p:nvSpPr>
        <p:spPr>
          <a:xfrm>
            <a:off x="6657975" y="4834277"/>
            <a:ext cx="2057400" cy="273844"/>
          </a:xfrm>
          <a:prstGeom prst="rect">
            <a:avLst/>
          </a:prstGeom>
        </p:spPr>
        <p:txBody>
          <a:bodyPr vert="horz" wrap="none" lIns="65055" tIns="32527" rIns="65055" bIns="32527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90D8D-6BA0-418D-AFED-C65293F70DA0}" type="slidenum">
              <a:rPr lang="en-US" sz="600" b="1" smtClean="0">
                <a:solidFill>
                  <a:srgbClr val="FFFFFF"/>
                </a:solidFill>
                <a:cs typeface="Arial" panose="020B0604020202020204" pitchFamily="34" charset="0"/>
              </a:rPr>
              <a:pPr/>
              <a:t>‹#›</a:t>
            </a:fld>
            <a:endParaRPr lang="en-US" sz="6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31719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ategy and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0047" y="3669411"/>
            <a:ext cx="1714947" cy="1083564"/>
          </a:xfrm>
        </p:spPr>
        <p:txBody>
          <a:bodyPr tIns="91432" bIns="45716"/>
          <a:lstStyle>
            <a:lvl1pPr marL="171436" indent="-171436">
              <a:spcBef>
                <a:spcPts val="900"/>
              </a:spcBef>
              <a:buFont typeface="Arial" panose="020B0604020202020204" pitchFamily="34" charset="0"/>
              <a:buChar char="•"/>
              <a:defRPr sz="1600"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730047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2660951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591854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6522756" y="3457555"/>
            <a:ext cx="1714947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2660951" y="3669411"/>
            <a:ext cx="1714947" cy="1083564"/>
          </a:xfrm>
        </p:spPr>
        <p:txBody>
          <a:bodyPr tIns="91432" bIns="45716"/>
          <a:lstStyle>
            <a:lvl1pPr marL="171436" indent="-171436">
              <a:spcBef>
                <a:spcPts val="900"/>
              </a:spcBef>
              <a:buFont typeface="Arial" panose="020B0604020202020204" pitchFamily="34" charset="0"/>
              <a:buChar char="•"/>
              <a:defRPr sz="1600"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591854" y="3669411"/>
            <a:ext cx="1714947" cy="1083564"/>
          </a:xfrm>
        </p:spPr>
        <p:txBody>
          <a:bodyPr tIns="91432" bIns="45716"/>
          <a:lstStyle>
            <a:lvl1pPr marL="171436" indent="-171436">
              <a:spcBef>
                <a:spcPts val="900"/>
              </a:spcBef>
              <a:buFont typeface="Arial" panose="020B0604020202020204" pitchFamily="34" charset="0"/>
              <a:buChar char="•"/>
              <a:defRPr sz="1600"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6522756" y="3669411"/>
            <a:ext cx="1714947" cy="1083564"/>
          </a:xfrm>
        </p:spPr>
        <p:txBody>
          <a:bodyPr tIns="91432" bIns="45716"/>
          <a:lstStyle>
            <a:lvl1pPr marL="171436" indent="-171436">
              <a:spcBef>
                <a:spcPts val="900"/>
              </a:spcBef>
              <a:buFont typeface="Arial" panose="020B0604020202020204" pitchFamily="34" charset="0"/>
              <a:buChar char="•"/>
              <a:defRPr sz="1600"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/>
          </p:nvPr>
        </p:nvSpPr>
        <p:spPr>
          <a:xfrm>
            <a:off x="730044" y="1400176"/>
            <a:ext cx="7501144" cy="414338"/>
          </a:xfrm>
        </p:spPr>
        <p:txBody>
          <a:bodyPr tIns="91432"/>
          <a:lstStyle>
            <a:lvl1pPr marL="0" indent="0">
              <a:spcBef>
                <a:spcPts val="0"/>
              </a:spcBef>
              <a:buNone/>
              <a:defRPr sz="1600"/>
            </a:lvl1pPr>
            <a:lvl4pPr marL="1371486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730123" y="1197769"/>
            <a:ext cx="7503002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6"/>
          </p:nvPr>
        </p:nvSpPr>
        <p:spPr>
          <a:xfrm>
            <a:off x="730044" y="2371728"/>
            <a:ext cx="7501144" cy="692944"/>
          </a:xfrm>
        </p:spPr>
        <p:txBody>
          <a:bodyPr tIns="91432"/>
          <a:lstStyle>
            <a:lvl1pPr marL="171436" indent="-171436">
              <a:spcBef>
                <a:spcPts val="900"/>
              </a:spcBef>
              <a:buFont typeface="Arial" panose="020B0604020202020204" pitchFamily="34" charset="0"/>
              <a:buChar char="•"/>
              <a:defRPr sz="1600"/>
            </a:lvl1pPr>
            <a:lvl4pPr marL="1371486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27"/>
          </p:nvPr>
        </p:nvSpPr>
        <p:spPr>
          <a:xfrm>
            <a:off x="730123" y="2167160"/>
            <a:ext cx="7503002" cy="205740"/>
          </a:xfrm>
        </p:spPr>
        <p:txBody>
          <a:bodyPr bIns="0" anchor="t" anchorCtr="0"/>
          <a:lstStyle>
            <a:lvl1pPr marL="0" indent="0">
              <a:buNone/>
              <a:defRPr b="1"/>
            </a:lvl1pPr>
            <a:lvl2pPr marL="457162" indent="0">
              <a:buNone/>
              <a:defRPr b="1"/>
            </a:lvl2pPr>
            <a:lvl3pPr marL="914324" indent="0">
              <a:buNone/>
              <a:defRPr b="1"/>
            </a:lvl3pPr>
            <a:lvl4pPr marL="1371486" indent="0">
              <a:buNone/>
              <a:defRPr b="1"/>
            </a:lvl4pPr>
            <a:lvl5pPr marL="1828648" indent="0">
              <a:buNone/>
              <a:defRPr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604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arning objective blac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313183" y="0"/>
            <a:ext cx="5830818" cy="51435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9" y="1774629"/>
            <a:ext cx="2299695" cy="1594247"/>
          </a:xfrm>
        </p:spPr>
        <p:txBody>
          <a:bodyPr tIns="0" bIns="0"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16200000">
            <a:off x="-1218710" y="2521735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Content Placeholder 3"/>
          <p:cNvSpPr>
            <a:spLocks noGrp="1"/>
          </p:cNvSpPr>
          <p:nvPr>
            <p:ph sz="half" idx="13"/>
          </p:nvPr>
        </p:nvSpPr>
        <p:spPr>
          <a:xfrm>
            <a:off x="3744302" y="1197771"/>
            <a:ext cx="5010265" cy="2747963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lnSpc>
                <a:spcPct val="125000"/>
              </a:lnSpc>
              <a:buNone/>
              <a:defRPr lang="en-US" sz="2200" dirty="0" smtClean="0">
                <a:solidFill>
                  <a:schemeClr val="tx1"/>
                </a:solidFill>
              </a:defRPr>
            </a:lvl1pPr>
            <a:lvl2pPr marL="457162" indent="0">
              <a:buClr>
                <a:schemeClr val="tx1"/>
              </a:buClr>
              <a:buNone/>
              <a:defRPr lang="en-US" sz="2200" dirty="0" smtClean="0"/>
            </a:lvl2pPr>
            <a:lvl3pPr marL="914324" indent="0">
              <a:buClr>
                <a:schemeClr val="tx1"/>
              </a:buClr>
              <a:buNone/>
              <a:defRPr lang="en-US" sz="2200" dirty="0" smtClean="0"/>
            </a:lvl3pPr>
            <a:lvl4pPr marL="1371486" indent="0">
              <a:buClr>
                <a:schemeClr val="tx1"/>
              </a:buClr>
              <a:buNone/>
              <a:defRPr lang="en-US" sz="2200" dirty="0" smtClean="0"/>
            </a:lvl4pPr>
            <a:lvl5pPr marL="1828648" indent="0">
              <a:buClr>
                <a:schemeClr val="tx1"/>
              </a:buClr>
              <a:buNone/>
              <a:defRPr lang="en-US" sz="2200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7010400" y="4993465"/>
            <a:ext cx="2133600" cy="1500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86"/>
            <a:r>
              <a:rPr lang="en-US" sz="7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7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218886"/>
              <a:t>‹#›</a:t>
            </a:fld>
            <a:endParaRPr lang="en-US" sz="7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64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_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3744300" y="0"/>
            <a:ext cx="53997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5" y="1774629"/>
            <a:ext cx="2742723" cy="1594247"/>
          </a:xfrm>
        </p:spPr>
        <p:txBody>
          <a:bodyPr tIns="0" bIns="0" anchor="ctr" anchorCtr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010400" y="4993465"/>
            <a:ext cx="2133600" cy="1500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86"/>
            <a:r>
              <a:rPr lang="en-US" sz="7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7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1218886"/>
              <a:t>‹#›</a:t>
            </a:fld>
            <a:endParaRPr lang="en-US" sz="7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0048" y="3629027"/>
            <a:ext cx="2749869" cy="957263"/>
          </a:xfrm>
        </p:spPr>
        <p:txBody>
          <a:bodyPr/>
          <a:lstStyle>
            <a:lvl1pPr marL="0" indent="0">
              <a:buNone/>
              <a:defRPr/>
            </a:lvl1pPr>
            <a:lvl2pPr marL="457162" indent="0">
              <a:buNone/>
              <a:defRPr/>
            </a:lvl2pPr>
            <a:lvl3pPr marL="914324" indent="0">
              <a:buNone/>
              <a:defRPr/>
            </a:lvl3pPr>
            <a:lvl4pPr marL="1371486" indent="0">
              <a:buNone/>
              <a:defRPr/>
            </a:lvl4pPr>
            <a:lvl5pPr marL="1828648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543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ck_whit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457547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4568522" y="0"/>
            <a:ext cx="4575478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06110" y="402433"/>
            <a:ext cx="8346073" cy="4350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808438"/>
            <a:ext cx="7507655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4" y="1599010"/>
            <a:ext cx="7507655" cy="2751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D2D2D2"/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D2D2D2"/>
                </a:solidFill>
              </a:rPr>
              <a:pPr defTabSz="914362"/>
              <a:t>‹#›</a:t>
            </a:fld>
            <a:endParaRPr lang="en-US" sz="500">
              <a:solidFill>
                <a:srgbClr val="D2D2D2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6401" y="4601766"/>
            <a:ext cx="6553200" cy="274320"/>
          </a:xfrm>
          <a:prstGeom prst="rect">
            <a:avLst/>
          </a:prstGeom>
        </p:spPr>
        <p:txBody>
          <a:bodyPr vert="horz" lIns="0" tIns="34298" rIns="0" bIns="0" rtlCol="0" anchor="t" anchorCtr="0"/>
          <a:lstStyle>
            <a:lvl1pPr algn="r">
              <a:lnSpc>
                <a:spcPct val="90000"/>
              </a:lnSpc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730044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914362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31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ck_blue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4575478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4568522" y="0"/>
            <a:ext cx="457547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06112" y="402434"/>
            <a:ext cx="8346073" cy="4350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5" y="808440"/>
            <a:ext cx="7507655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5" y="1599010"/>
            <a:ext cx="7507655" cy="2751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465F197-B1B8-4584-8B75-5D45B647D250}" type="datetimeFigureOut">
              <a:rPr lang="en-US" smtClean="0">
                <a:solidFill>
                  <a:srgbClr val="D2D2D2"/>
                </a:solidFill>
              </a:rPr>
              <a:pPr/>
              <a:t>10/17/2023</a:t>
            </a:fld>
            <a:endParaRPr lang="en-US">
              <a:solidFill>
                <a:srgbClr val="D2D2D2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010400" y="4993465"/>
            <a:ext cx="2133600" cy="1500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86"/>
            <a:r>
              <a:rPr lang="en-US" sz="700">
                <a:solidFill>
                  <a:srgbClr val="D2D2D2"/>
                </a:solidFill>
              </a:rPr>
              <a:t>©2020 MFMER  |  slide-</a:t>
            </a:r>
            <a:fld id="{D445C29B-035B-48ED-941F-A66A11A8A322}" type="slidenum">
              <a:rPr lang="en-US" sz="700" smtClean="0">
                <a:solidFill>
                  <a:srgbClr val="D2D2D2"/>
                </a:solidFill>
              </a:rPr>
              <a:pPr defTabSz="1218886"/>
              <a:t>‹#›</a:t>
            </a:fld>
            <a:endParaRPr lang="en-US" sz="700">
              <a:solidFill>
                <a:srgbClr val="D2D2D2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6401" y="4601766"/>
            <a:ext cx="6553200" cy="274320"/>
          </a:xfrm>
          <a:prstGeom prst="rect">
            <a:avLst/>
          </a:prstGeom>
        </p:spPr>
        <p:txBody>
          <a:bodyPr vert="horz" lIns="0" tIns="45720" rIns="0" bIns="0" rtlCol="0" anchor="t" anchorCtr="0"/>
          <a:lstStyle>
            <a:lvl1pPr algn="r">
              <a:lnSpc>
                <a:spcPct val="90000"/>
              </a:lnSpc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0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0/5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6"/>
            <a:ext cx="3581142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043" y="1488281"/>
            <a:ext cx="3581142" cy="2990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Content Placeholder 7"/>
          <p:cNvSpPr>
            <a:spLocks noGrp="1"/>
          </p:cNvSpPr>
          <p:nvPr>
            <p:ph sz="quarter" idx="12"/>
          </p:nvPr>
        </p:nvSpPr>
        <p:spPr>
          <a:xfrm>
            <a:off x="4579146" y="0"/>
            <a:ext cx="4564854" cy="51435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94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0/5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31624" y="402436"/>
            <a:ext cx="3920558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31624" y="1488281"/>
            <a:ext cx="3920558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831626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0" y="0"/>
            <a:ext cx="4579146" cy="51435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3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0/6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744300" y="0"/>
            <a:ext cx="53997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730043" y="1488282"/>
            <a:ext cx="2749870" cy="293484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402433"/>
            <a:ext cx="2749870" cy="795338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31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0/6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08688" y="402436"/>
            <a:ext cx="4743494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8688" y="1488281"/>
            <a:ext cx="4743494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008688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7443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3903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0/40 Tex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419946" y="0"/>
            <a:ext cx="3724054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730047" y="1488282"/>
            <a:ext cx="4421943" cy="293484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30047" y="402436"/>
            <a:ext cx="4421943" cy="440531"/>
          </a:xfrm>
        </p:spPr>
        <p:txBody>
          <a:bodyPr/>
          <a:lstStyle/>
          <a:p>
            <a:r>
              <a:rPr lang="en-US"/>
              <a:t>CLICK TO EDIT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424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0/40 Im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5159131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19949" y="402436"/>
            <a:ext cx="3332237" cy="440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9949" y="1488281"/>
            <a:ext cx="3332237" cy="299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419948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3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4" y="2314575"/>
            <a:ext cx="7501144" cy="514350"/>
          </a:xfrm>
        </p:spPr>
        <p:txBody>
          <a:bodyPr anchor="t" anchorCtr="0"/>
          <a:lstStyle>
            <a:lvl1pPr algn="l">
              <a:defRPr sz="40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 rot="16200000">
            <a:off x="-1218710" y="2521735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842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79374" y="2047875"/>
            <a:ext cx="6145225" cy="1047750"/>
          </a:xfrm>
        </p:spPr>
        <p:txBody>
          <a:bodyPr anchor="t" anchorCtr="0"/>
          <a:lstStyle>
            <a:lvl1pPr algn="l">
              <a:defRPr sz="40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730044" y="1879254"/>
            <a:ext cx="1184018" cy="2077492"/>
          </a:xfrm>
        </p:spPr>
        <p:txBody>
          <a:bodyPr bIns="0">
            <a:spAutoFit/>
          </a:bodyPr>
          <a:lstStyle>
            <a:lvl1pPr marL="0" indent="0">
              <a:buNone/>
              <a:defRPr sz="150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1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" name="Rectangle 5"/>
          <p:cNvSpPr/>
          <p:nvPr userDrawn="1"/>
        </p:nvSpPr>
        <p:spPr>
          <a:xfrm rot="16200000">
            <a:off x="-1218710" y="2521735"/>
            <a:ext cx="2537460" cy="100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24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number_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579146" y="0"/>
            <a:ext cx="4564854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043" y="3698081"/>
            <a:ext cx="3581142" cy="1047750"/>
          </a:xfrm>
        </p:spPr>
        <p:txBody>
          <a:bodyPr anchor="t" anchorCtr="0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B8ED5C6-5B4C-9D47-8AA4-7E0BBD72AA9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730044" y="402432"/>
            <a:ext cx="1184018" cy="2077492"/>
          </a:xfrm>
        </p:spPr>
        <p:txBody>
          <a:bodyPr bIns="0">
            <a:spAutoFit/>
          </a:bodyPr>
          <a:lstStyle>
            <a:lvl1pPr marL="0" indent="0">
              <a:buNone/>
              <a:defRPr sz="150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1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30047" y="0"/>
            <a:ext cx="2538121" cy="100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1218886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593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208" Type="http://schemas.openxmlformats.org/officeDocument/2006/relationships/slideLayout" Target="../slideLayouts/slideLayout208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10" Type="http://schemas.openxmlformats.org/officeDocument/2006/relationships/slideLayout" Target="../slideLayouts/slideLayout210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theme" Target="../theme/theme1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5.xml"/><Relationship Id="rId18" Type="http://schemas.openxmlformats.org/officeDocument/2006/relationships/slideLayout" Target="../slideLayouts/slideLayout230.xml"/><Relationship Id="rId26" Type="http://schemas.openxmlformats.org/officeDocument/2006/relationships/slideLayout" Target="../slideLayouts/slideLayout238.xml"/><Relationship Id="rId39" Type="http://schemas.openxmlformats.org/officeDocument/2006/relationships/slideLayout" Target="../slideLayouts/slideLayout251.xml"/><Relationship Id="rId21" Type="http://schemas.openxmlformats.org/officeDocument/2006/relationships/slideLayout" Target="../slideLayouts/slideLayout233.xml"/><Relationship Id="rId34" Type="http://schemas.openxmlformats.org/officeDocument/2006/relationships/slideLayout" Target="../slideLayouts/slideLayout246.xml"/><Relationship Id="rId42" Type="http://schemas.openxmlformats.org/officeDocument/2006/relationships/slideLayout" Target="../slideLayouts/slideLayout254.xml"/><Relationship Id="rId47" Type="http://schemas.openxmlformats.org/officeDocument/2006/relationships/slideLayout" Target="../slideLayouts/slideLayout259.xml"/><Relationship Id="rId50" Type="http://schemas.openxmlformats.org/officeDocument/2006/relationships/slideLayout" Target="../slideLayouts/slideLayout262.xml"/><Relationship Id="rId55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19.xml"/><Relationship Id="rId2" Type="http://schemas.openxmlformats.org/officeDocument/2006/relationships/slideLayout" Target="../slideLayouts/slideLayout214.xml"/><Relationship Id="rId16" Type="http://schemas.openxmlformats.org/officeDocument/2006/relationships/slideLayout" Target="../slideLayouts/slideLayout228.xml"/><Relationship Id="rId29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23.xml"/><Relationship Id="rId24" Type="http://schemas.openxmlformats.org/officeDocument/2006/relationships/slideLayout" Target="../slideLayouts/slideLayout236.xml"/><Relationship Id="rId32" Type="http://schemas.openxmlformats.org/officeDocument/2006/relationships/slideLayout" Target="../slideLayouts/slideLayout244.xml"/><Relationship Id="rId37" Type="http://schemas.openxmlformats.org/officeDocument/2006/relationships/slideLayout" Target="../slideLayouts/slideLayout249.xml"/><Relationship Id="rId40" Type="http://schemas.openxmlformats.org/officeDocument/2006/relationships/slideLayout" Target="../slideLayouts/slideLayout252.xml"/><Relationship Id="rId45" Type="http://schemas.openxmlformats.org/officeDocument/2006/relationships/slideLayout" Target="../slideLayouts/slideLayout257.xml"/><Relationship Id="rId53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17.xml"/><Relationship Id="rId19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Relationship Id="rId14" Type="http://schemas.openxmlformats.org/officeDocument/2006/relationships/slideLayout" Target="../slideLayouts/slideLayout226.xml"/><Relationship Id="rId22" Type="http://schemas.openxmlformats.org/officeDocument/2006/relationships/slideLayout" Target="../slideLayouts/slideLayout234.xml"/><Relationship Id="rId27" Type="http://schemas.openxmlformats.org/officeDocument/2006/relationships/slideLayout" Target="../slideLayouts/slideLayout239.xml"/><Relationship Id="rId30" Type="http://schemas.openxmlformats.org/officeDocument/2006/relationships/slideLayout" Target="../slideLayouts/slideLayout242.xml"/><Relationship Id="rId35" Type="http://schemas.openxmlformats.org/officeDocument/2006/relationships/slideLayout" Target="../slideLayouts/slideLayout247.xml"/><Relationship Id="rId43" Type="http://schemas.openxmlformats.org/officeDocument/2006/relationships/slideLayout" Target="../slideLayouts/slideLayout255.xml"/><Relationship Id="rId48" Type="http://schemas.openxmlformats.org/officeDocument/2006/relationships/slideLayout" Target="../slideLayouts/slideLayout260.xml"/><Relationship Id="rId56" Type="http://schemas.openxmlformats.org/officeDocument/2006/relationships/slideLayout" Target="../slideLayouts/slideLayout268.xml"/><Relationship Id="rId8" Type="http://schemas.openxmlformats.org/officeDocument/2006/relationships/slideLayout" Target="../slideLayouts/slideLayout220.xml"/><Relationship Id="rId51" Type="http://schemas.openxmlformats.org/officeDocument/2006/relationships/slideLayout" Target="../slideLayouts/slideLayout263.xml"/><Relationship Id="rId3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4.xml"/><Relationship Id="rId17" Type="http://schemas.openxmlformats.org/officeDocument/2006/relationships/slideLayout" Target="../slideLayouts/slideLayout229.xml"/><Relationship Id="rId25" Type="http://schemas.openxmlformats.org/officeDocument/2006/relationships/slideLayout" Target="../slideLayouts/slideLayout237.xml"/><Relationship Id="rId33" Type="http://schemas.openxmlformats.org/officeDocument/2006/relationships/slideLayout" Target="../slideLayouts/slideLayout245.xml"/><Relationship Id="rId38" Type="http://schemas.openxmlformats.org/officeDocument/2006/relationships/slideLayout" Target="../slideLayouts/slideLayout250.xml"/><Relationship Id="rId46" Type="http://schemas.openxmlformats.org/officeDocument/2006/relationships/slideLayout" Target="../slideLayouts/slideLayout258.xml"/><Relationship Id="rId20" Type="http://schemas.openxmlformats.org/officeDocument/2006/relationships/slideLayout" Target="../slideLayouts/slideLayout232.xml"/><Relationship Id="rId41" Type="http://schemas.openxmlformats.org/officeDocument/2006/relationships/slideLayout" Target="../slideLayouts/slideLayout253.xml"/><Relationship Id="rId54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5" Type="http://schemas.openxmlformats.org/officeDocument/2006/relationships/slideLayout" Target="../slideLayouts/slideLayout227.xml"/><Relationship Id="rId23" Type="http://schemas.openxmlformats.org/officeDocument/2006/relationships/slideLayout" Target="../slideLayouts/slideLayout235.xml"/><Relationship Id="rId28" Type="http://schemas.openxmlformats.org/officeDocument/2006/relationships/slideLayout" Target="../slideLayouts/slideLayout240.xml"/><Relationship Id="rId36" Type="http://schemas.openxmlformats.org/officeDocument/2006/relationships/slideLayout" Target="../slideLayouts/slideLayout248.xml"/><Relationship Id="rId49" Type="http://schemas.openxmlformats.org/officeDocument/2006/relationships/slideLayout" Target="../slideLayouts/slideLayout261.xml"/><Relationship Id="rId57" Type="http://schemas.openxmlformats.org/officeDocument/2006/relationships/theme" Target="../theme/theme3.xml"/><Relationship Id="rId10" Type="http://schemas.openxmlformats.org/officeDocument/2006/relationships/slideLayout" Target="../slideLayouts/slideLayout222.xml"/><Relationship Id="rId31" Type="http://schemas.openxmlformats.org/officeDocument/2006/relationships/slideLayout" Target="../slideLayouts/slideLayout243.xml"/><Relationship Id="rId44" Type="http://schemas.openxmlformats.org/officeDocument/2006/relationships/slideLayout" Target="../slideLayouts/slideLayout256.xml"/><Relationship Id="rId52" Type="http://schemas.openxmlformats.org/officeDocument/2006/relationships/slideLayout" Target="../slideLayouts/slideLayout26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71.xml"/><Relationship Id="rId7" Type="http://schemas.openxmlformats.org/officeDocument/2006/relationships/slideLayout" Target="../slideLayouts/slideLayout275.xml"/><Relationship Id="rId12" Type="http://schemas.openxmlformats.org/officeDocument/2006/relationships/slideLayout" Target="../slideLayouts/slideLayout280.xml"/><Relationship Id="rId2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4.xml"/><Relationship Id="rId11" Type="http://schemas.openxmlformats.org/officeDocument/2006/relationships/slideLayout" Target="../slideLayouts/slideLayout279.xml"/><Relationship Id="rId5" Type="http://schemas.openxmlformats.org/officeDocument/2006/relationships/slideLayout" Target="../slideLayouts/slideLayout273.xml"/><Relationship Id="rId10" Type="http://schemas.openxmlformats.org/officeDocument/2006/relationships/slideLayout" Target="../slideLayouts/slideLayout278.xml"/><Relationship Id="rId4" Type="http://schemas.openxmlformats.org/officeDocument/2006/relationships/slideLayout" Target="../slideLayouts/slideLayout272.xml"/><Relationship Id="rId9" Type="http://schemas.openxmlformats.org/officeDocument/2006/relationships/slideLayout" Target="../slideLayouts/slideLayout2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0044" y="402433"/>
            <a:ext cx="7501144" cy="440531"/>
          </a:xfrm>
          <a:prstGeom prst="rect">
            <a:avLst/>
          </a:prstGeom>
        </p:spPr>
        <p:txBody>
          <a:bodyPr vert="horz" lIns="0" tIns="34298" rIns="0" bIns="34298" rtlCol="0" anchor="t" anchorCtr="0">
            <a:noAutofit/>
          </a:bodyPr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0044" y="1197769"/>
            <a:ext cx="7501144" cy="3291840"/>
          </a:xfrm>
          <a:prstGeom prst="rect">
            <a:avLst/>
          </a:prstGeom>
        </p:spPr>
        <p:txBody>
          <a:bodyPr vert="horz" lIns="0" tIns="0" rIns="0" bIns="34298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485633" y="4896612"/>
            <a:ext cx="658368" cy="82296"/>
          </a:xfrm>
          <a:prstGeom prst="rect">
            <a:avLst/>
          </a:prstGeom>
        </p:spPr>
        <p:txBody>
          <a:bodyPr vert="horz" lIns="68595" tIns="0" rIns="68595" bIns="0" rtlCol="0" anchor="ctr"/>
          <a:lstStyle>
            <a:lvl1pPr algn="r">
              <a:defRPr sz="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4362"/>
            <a:fld id="{3465F197-B1B8-4584-8B75-5D45B647D250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10/17/2023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6401" y="4601766"/>
            <a:ext cx="6553200" cy="274320"/>
          </a:xfrm>
          <a:prstGeom prst="rect">
            <a:avLst/>
          </a:prstGeom>
        </p:spPr>
        <p:txBody>
          <a:bodyPr vert="horz" lIns="0" tIns="34298" rIns="0" bIns="0" rtlCol="0" anchor="t" anchorCtr="0"/>
          <a:lstStyle>
            <a:lvl1pPr algn="r">
              <a:lnSpc>
                <a:spcPct val="90000"/>
              </a:lnSpc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914362"/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10400" y="4993462"/>
            <a:ext cx="2133600" cy="150041"/>
          </a:xfrm>
          <a:prstGeom prst="rect">
            <a:avLst/>
          </a:prstGeom>
        </p:spPr>
        <p:txBody>
          <a:bodyPr vert="horz" lIns="68595" tIns="34298" rIns="68595" bIns="34298" rtlCol="0" anchor="ctr">
            <a:noAutofit/>
          </a:bodyPr>
          <a:lstStyle>
            <a:defPPr>
              <a:defRPr lang="en-US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62"/>
            <a:r>
              <a:rPr lang="en-US" sz="500">
                <a:solidFill>
                  <a:srgbClr val="000000">
                    <a:lumMod val="50000"/>
                    <a:lumOff val="50000"/>
                  </a:srgbClr>
                </a:solidFill>
              </a:rPr>
              <a:t>©2020 MFMER  |  slide-</a:t>
            </a:r>
            <a:fld id="{D445C29B-035B-48ED-941F-A66A11A8A322}" type="slidenum">
              <a:rPr lang="en-US" sz="5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914362"/>
              <a:t>‹#›</a:t>
            </a:fld>
            <a:endParaRPr lang="en-US" sz="50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4734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1103" r:id="rId1"/>
    <p:sldLayoutId id="2147491118" r:id="rId2"/>
    <p:sldLayoutId id="2147491116" r:id="rId3"/>
    <p:sldLayoutId id="2147491119" r:id="rId4"/>
    <p:sldLayoutId id="2147491117" r:id="rId5"/>
    <p:sldLayoutId id="2147491984" r:id="rId6"/>
    <p:sldLayoutId id="2147491985" r:id="rId7"/>
    <p:sldLayoutId id="2147491986" r:id="rId8"/>
    <p:sldLayoutId id="2147491201" r:id="rId9"/>
    <p:sldLayoutId id="2147491202" r:id="rId10"/>
    <p:sldLayoutId id="2147491203" r:id="rId11"/>
    <p:sldLayoutId id="2147491204" r:id="rId12"/>
    <p:sldLayoutId id="2147491205" r:id="rId13"/>
    <p:sldLayoutId id="2147491206" r:id="rId14"/>
    <p:sldLayoutId id="2147491207" r:id="rId15"/>
    <p:sldLayoutId id="2147491208" r:id="rId16"/>
    <p:sldLayoutId id="2147491209" r:id="rId17"/>
    <p:sldLayoutId id="2147491210" r:id="rId18"/>
    <p:sldLayoutId id="2147491211" r:id="rId19"/>
    <p:sldLayoutId id="2147491212" r:id="rId20"/>
    <p:sldLayoutId id="2147491213" r:id="rId21"/>
    <p:sldLayoutId id="2147491214" r:id="rId22"/>
    <p:sldLayoutId id="2147491215" r:id="rId23"/>
    <p:sldLayoutId id="2147491216" r:id="rId24"/>
    <p:sldLayoutId id="2147491217" r:id="rId25"/>
    <p:sldLayoutId id="2147491218" r:id="rId26"/>
    <p:sldLayoutId id="2147491219" r:id="rId27"/>
    <p:sldLayoutId id="2147491220" r:id="rId28"/>
    <p:sldLayoutId id="2147491221" r:id="rId29"/>
    <p:sldLayoutId id="2147484009" r:id="rId30"/>
    <p:sldLayoutId id="2147484010" r:id="rId31"/>
    <p:sldLayoutId id="2147484011" r:id="rId32"/>
    <p:sldLayoutId id="2147484012" r:id="rId33"/>
    <p:sldLayoutId id="2147484013" r:id="rId34"/>
    <p:sldLayoutId id="2147484014" r:id="rId35"/>
    <p:sldLayoutId id="2147484015" r:id="rId36"/>
    <p:sldLayoutId id="2147484016" r:id="rId37"/>
    <p:sldLayoutId id="2147484017" r:id="rId38"/>
    <p:sldLayoutId id="2147484018" r:id="rId39"/>
    <p:sldLayoutId id="2147484019" r:id="rId40"/>
    <p:sldLayoutId id="2147484020" r:id="rId41"/>
    <p:sldLayoutId id="2147484021" r:id="rId42"/>
    <p:sldLayoutId id="2147484022" r:id="rId43"/>
    <p:sldLayoutId id="2147484023" r:id="rId44"/>
    <p:sldLayoutId id="2147484024" r:id="rId45"/>
    <p:sldLayoutId id="2147484025" r:id="rId46"/>
    <p:sldLayoutId id="2147484026" r:id="rId47"/>
    <p:sldLayoutId id="2147484027" r:id="rId48"/>
    <p:sldLayoutId id="2147484028" r:id="rId49"/>
    <p:sldLayoutId id="2147484029" r:id="rId50"/>
    <p:sldLayoutId id="2147484030" r:id="rId51"/>
    <p:sldLayoutId id="2147484031" r:id="rId52"/>
    <p:sldLayoutId id="2147484032" r:id="rId53"/>
    <p:sldLayoutId id="2147484033" r:id="rId54"/>
    <p:sldLayoutId id="2147484034" r:id="rId55"/>
    <p:sldLayoutId id="2147484035" r:id="rId56"/>
    <p:sldLayoutId id="2147484036" r:id="rId57"/>
    <p:sldLayoutId id="2147484037" r:id="rId58"/>
    <p:sldLayoutId id="2147491222" r:id="rId59"/>
    <p:sldLayoutId id="2147491223" r:id="rId60"/>
    <p:sldLayoutId id="2147491224" r:id="rId61"/>
    <p:sldLayoutId id="2147484040" r:id="rId62"/>
    <p:sldLayoutId id="2147491225" r:id="rId63"/>
    <p:sldLayoutId id="2147491226" r:id="rId64"/>
    <p:sldLayoutId id="2147491227" r:id="rId65"/>
    <p:sldLayoutId id="2147491228" r:id="rId66"/>
    <p:sldLayoutId id="2147483761" r:id="rId67"/>
    <p:sldLayoutId id="2147491229" r:id="rId68"/>
    <p:sldLayoutId id="2147491230" r:id="rId69"/>
    <p:sldLayoutId id="2147491231" r:id="rId70"/>
    <p:sldLayoutId id="2147491232" r:id="rId71"/>
    <p:sldLayoutId id="2147491233" r:id="rId72"/>
    <p:sldLayoutId id="2147491234" r:id="rId73"/>
    <p:sldLayoutId id="2147491235" r:id="rId74"/>
    <p:sldLayoutId id="2147491236" r:id="rId75"/>
    <p:sldLayoutId id="2147491237" r:id="rId76"/>
    <p:sldLayoutId id="2147491238" r:id="rId77"/>
    <p:sldLayoutId id="2147491239" r:id="rId78"/>
    <p:sldLayoutId id="2147491240" r:id="rId79"/>
    <p:sldLayoutId id="2147491241" r:id="rId80"/>
    <p:sldLayoutId id="2147491242" r:id="rId81"/>
    <p:sldLayoutId id="2147491243" r:id="rId82"/>
    <p:sldLayoutId id="2147491244" r:id="rId83"/>
    <p:sldLayoutId id="2147491245" r:id="rId84"/>
    <p:sldLayoutId id="2147491246" r:id="rId85"/>
    <p:sldLayoutId id="2147491247" r:id="rId86"/>
    <p:sldLayoutId id="2147491254" r:id="rId87"/>
    <p:sldLayoutId id="2147491255" r:id="rId88"/>
    <p:sldLayoutId id="2147491256" r:id="rId89"/>
    <p:sldLayoutId id="2147491257" r:id="rId90"/>
    <p:sldLayoutId id="2147491258" r:id="rId91"/>
    <p:sldLayoutId id="2147491259" r:id="rId92"/>
    <p:sldLayoutId id="2147489354" r:id="rId93"/>
    <p:sldLayoutId id="2147491169" r:id="rId94"/>
    <p:sldLayoutId id="2147491170" r:id="rId95"/>
    <p:sldLayoutId id="2147489349" r:id="rId96"/>
    <p:sldLayoutId id="2147491171" r:id="rId97"/>
    <p:sldLayoutId id="2147491172" r:id="rId98"/>
    <p:sldLayoutId id="2147489341" r:id="rId99"/>
    <p:sldLayoutId id="2147491174" r:id="rId100"/>
    <p:sldLayoutId id="2147491175" r:id="rId101"/>
    <p:sldLayoutId id="2147489342" r:id="rId102"/>
    <p:sldLayoutId id="2147489343" r:id="rId103"/>
    <p:sldLayoutId id="2147489344" r:id="rId104"/>
    <p:sldLayoutId id="2147489348" r:id="rId105"/>
    <p:sldLayoutId id="2147489350" r:id="rId106"/>
    <p:sldLayoutId id="2147489351" r:id="rId107"/>
    <p:sldLayoutId id="2147489352" r:id="rId108"/>
    <p:sldLayoutId id="2147489353" r:id="rId109"/>
    <p:sldLayoutId id="2147491188" r:id="rId110"/>
    <p:sldLayoutId id="2147491189" r:id="rId111"/>
    <p:sldLayoutId id="2147489345" r:id="rId112"/>
    <p:sldLayoutId id="2147489346" r:id="rId113"/>
    <p:sldLayoutId id="2147491192" r:id="rId114"/>
    <p:sldLayoutId id="2147491193" r:id="rId115"/>
    <p:sldLayoutId id="2147489347" r:id="rId116"/>
    <p:sldLayoutId id="2147491197" r:id="rId117"/>
    <p:sldLayoutId id="2147491199" r:id="rId118"/>
    <p:sldLayoutId id="2147491200" r:id="rId119"/>
    <p:sldLayoutId id="2147491983" r:id="rId120"/>
    <p:sldLayoutId id="2147491165" r:id="rId121"/>
    <p:sldLayoutId id="2147491097" r:id="rId122"/>
    <p:sldLayoutId id="2147491098" r:id="rId123"/>
    <p:sldLayoutId id="2147491099" r:id="rId124"/>
    <p:sldLayoutId id="2147491248" r:id="rId125"/>
    <p:sldLayoutId id="2147491249" r:id="rId126"/>
    <p:sldLayoutId id="2147491250" r:id="rId127"/>
    <p:sldLayoutId id="2147491251" r:id="rId128"/>
    <p:sldLayoutId id="2147491252" r:id="rId129"/>
    <p:sldLayoutId id="2147491253" r:id="rId130"/>
    <p:sldLayoutId id="2147485372" r:id="rId131"/>
    <p:sldLayoutId id="2147485773" r:id="rId132"/>
    <p:sldLayoutId id="2147484047" r:id="rId133"/>
    <p:sldLayoutId id="2147484048" r:id="rId134"/>
    <p:sldLayoutId id="2147484049" r:id="rId135"/>
    <p:sldLayoutId id="2147484050" r:id="rId136"/>
    <p:sldLayoutId id="2147484051" r:id="rId137"/>
    <p:sldLayoutId id="2147484052" r:id="rId138"/>
    <p:sldLayoutId id="2147484053" r:id="rId139"/>
    <p:sldLayoutId id="2147484054" r:id="rId140"/>
    <p:sldLayoutId id="2147484055" r:id="rId141"/>
    <p:sldLayoutId id="2147484056" r:id="rId142"/>
    <p:sldLayoutId id="2147484057" r:id="rId143"/>
    <p:sldLayoutId id="2147484058" r:id="rId144"/>
    <p:sldLayoutId id="2147484059" r:id="rId145"/>
    <p:sldLayoutId id="2147484060" r:id="rId146"/>
    <p:sldLayoutId id="2147484061" r:id="rId147"/>
    <p:sldLayoutId id="2147484062" r:id="rId148"/>
    <p:sldLayoutId id="2147484063" r:id="rId149"/>
    <p:sldLayoutId id="2147484064" r:id="rId150"/>
    <p:sldLayoutId id="2147484065" r:id="rId151"/>
    <p:sldLayoutId id="2147484066" r:id="rId152"/>
    <p:sldLayoutId id="2147484067" r:id="rId153"/>
    <p:sldLayoutId id="2147484068" r:id="rId154"/>
    <p:sldLayoutId id="2147484069" r:id="rId155"/>
    <p:sldLayoutId id="2147484070" r:id="rId156"/>
    <p:sldLayoutId id="2147484071" r:id="rId157"/>
    <p:sldLayoutId id="2147484072" r:id="rId158"/>
    <p:sldLayoutId id="2147484073" r:id="rId159"/>
    <p:sldLayoutId id="2147484074" r:id="rId160"/>
    <p:sldLayoutId id="2147484075" r:id="rId161"/>
    <p:sldLayoutId id="2147484076" r:id="rId162"/>
    <p:sldLayoutId id="2147484077" r:id="rId163"/>
    <p:sldLayoutId id="2147484078" r:id="rId164"/>
    <p:sldLayoutId id="2147484079" r:id="rId165"/>
    <p:sldLayoutId id="2147484080" r:id="rId166"/>
    <p:sldLayoutId id="2147484081" r:id="rId167"/>
    <p:sldLayoutId id="2147484082" r:id="rId168"/>
    <p:sldLayoutId id="2147484083" r:id="rId169"/>
    <p:sldLayoutId id="2147484084" r:id="rId170"/>
    <p:sldLayoutId id="2147484085" r:id="rId171"/>
    <p:sldLayoutId id="2147484086" r:id="rId172"/>
    <p:sldLayoutId id="2147484087" r:id="rId173"/>
    <p:sldLayoutId id="2147484088" r:id="rId174"/>
    <p:sldLayoutId id="2147484089" r:id="rId175"/>
    <p:sldLayoutId id="2147484090" r:id="rId176"/>
    <p:sldLayoutId id="2147484091" r:id="rId177"/>
    <p:sldLayoutId id="2147484092" r:id="rId178"/>
    <p:sldLayoutId id="2147484093" r:id="rId179"/>
    <p:sldLayoutId id="2147484094" r:id="rId180"/>
    <p:sldLayoutId id="2147484095" r:id="rId181"/>
    <p:sldLayoutId id="2147484096" r:id="rId182"/>
    <p:sldLayoutId id="2147484097" r:id="rId183"/>
    <p:sldLayoutId id="2147484098" r:id="rId184"/>
    <p:sldLayoutId id="2147484099" r:id="rId185"/>
    <p:sldLayoutId id="2147484100" r:id="rId186"/>
    <p:sldLayoutId id="2147484101" r:id="rId187"/>
    <p:sldLayoutId id="2147490677" r:id="rId188"/>
    <p:sldLayoutId id="2147490678" r:id="rId189"/>
    <p:sldLayoutId id="2147489042" r:id="rId190"/>
    <p:sldLayoutId id="2147491260" r:id="rId191"/>
    <p:sldLayoutId id="2147489049" r:id="rId192"/>
    <p:sldLayoutId id="2147491313" r:id="rId193"/>
    <p:sldLayoutId id="2147491314" r:id="rId194"/>
    <p:sldLayoutId id="2147491315" r:id="rId195"/>
    <p:sldLayoutId id="2147491848" r:id="rId196"/>
    <p:sldLayoutId id="2147491949" r:id="rId197"/>
    <p:sldLayoutId id="2147491950" r:id="rId198"/>
    <p:sldLayoutId id="2147491951" r:id="rId199"/>
    <p:sldLayoutId id="2147491953" r:id="rId200"/>
    <p:sldLayoutId id="2147491954" r:id="rId201"/>
    <p:sldLayoutId id="2147491955" r:id="rId202"/>
    <p:sldLayoutId id="2147491956" r:id="rId203"/>
    <p:sldLayoutId id="2147491957" r:id="rId204"/>
    <p:sldLayoutId id="2147491975" r:id="rId205"/>
    <p:sldLayoutId id="2147491976" r:id="rId206"/>
    <p:sldLayoutId id="2147491977" r:id="rId207"/>
    <p:sldLayoutId id="2147491978" r:id="rId208"/>
    <p:sldLayoutId id="2147491979" r:id="rId209"/>
    <p:sldLayoutId id="2147491980" r:id="rId2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85954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605" indent="-128605" algn="l" defTabSz="685954" rtl="0" eaLnBrk="1" latinLnBrk="0" hangingPunct="1">
        <a:lnSpc>
          <a:spcPct val="90000"/>
        </a:lnSpc>
        <a:spcBef>
          <a:spcPts val="1125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71550" indent="-128605" algn="l" defTabSz="685954" rtl="0" eaLnBrk="1" latinLnBrk="0" hangingPunct="1">
        <a:lnSpc>
          <a:spcPct val="90000"/>
        </a:lnSpc>
        <a:spcBef>
          <a:spcPts val="450"/>
        </a:spcBef>
        <a:buClr>
          <a:schemeClr val="tx1">
            <a:lumMod val="50000"/>
            <a:lumOff val="50000"/>
          </a:schemeClr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14496" indent="-128605" algn="l" defTabSz="685954" rtl="0" eaLnBrk="1" latinLnBrk="0" hangingPunct="1">
        <a:lnSpc>
          <a:spcPct val="90000"/>
        </a:lnSpc>
        <a:spcBef>
          <a:spcPts val="450"/>
        </a:spcBef>
        <a:buClr>
          <a:schemeClr val="tx1">
            <a:lumMod val="50000"/>
            <a:lumOff val="50000"/>
          </a:schemeClr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57442" indent="-128605" algn="l" defTabSz="685954" rtl="0" eaLnBrk="1" latinLnBrk="0" hangingPunct="1">
        <a:lnSpc>
          <a:spcPct val="90000"/>
        </a:lnSpc>
        <a:spcBef>
          <a:spcPts val="450"/>
        </a:spcBef>
        <a:buClr>
          <a:schemeClr val="tx1">
            <a:lumMod val="50000"/>
            <a:lumOff val="50000"/>
          </a:schemeClr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00388" indent="-128605" algn="l" defTabSz="685954" rtl="0" eaLnBrk="1" latinLnBrk="0" hangingPunct="1">
        <a:lnSpc>
          <a:spcPct val="90000"/>
        </a:lnSpc>
        <a:spcBef>
          <a:spcPts val="450"/>
        </a:spcBef>
        <a:buClr>
          <a:schemeClr val="tx1">
            <a:lumMod val="50000"/>
            <a:lumOff val="50000"/>
          </a:schemeClr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374" indent="-171489" algn="l" defTabSz="68595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351" indent="-171489" algn="l" defTabSz="68595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328" indent="-171489" algn="l" defTabSz="68595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306" indent="-171489" algn="l" defTabSz="68595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76" algn="l" defTabSz="6859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954" algn="l" defTabSz="6859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31" algn="l" defTabSz="6859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09" algn="l" defTabSz="6859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885" algn="l" defTabSz="6859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863" algn="l" defTabSz="6859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840" algn="l" defTabSz="6859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818" algn="l" defTabSz="6859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8043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1946" r:id="rId1"/>
    <p:sldLayoutId id="2147491947" r:id="rId2"/>
  </p:sldLayoutIdLst>
  <p:txStyles>
    <p:titleStyle>
      <a:lvl1pPr algn="l" defTabSz="685595" rtl="0" eaLnBrk="1" latinLnBrk="0" hangingPunct="1">
        <a:lnSpc>
          <a:spcPct val="90000"/>
        </a:lnSpc>
        <a:spcBef>
          <a:spcPct val="0"/>
        </a:spcBef>
        <a:buNone/>
        <a:defRPr sz="32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398" indent="-171398" algn="l" defTabSz="68559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14196" indent="-171398" algn="l" defTabSz="68559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993" indent="-171398" algn="l" defTabSz="68559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790" indent="-171398" algn="l" defTabSz="68559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587" indent="-171398" algn="l" defTabSz="68559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5385" indent="-171398" algn="l" defTabSz="68559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8181" indent="-171398" algn="l" defTabSz="68559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978" indent="-171398" algn="l" defTabSz="68559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776" indent="-171398" algn="l" defTabSz="68559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97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595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392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1188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986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783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580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2377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284634" y="402431"/>
            <a:ext cx="8129323" cy="795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284634" y="1488281"/>
            <a:ext cx="8129323" cy="3001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8485633" y="4896612"/>
            <a:ext cx="658368" cy="82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525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730043" y="4601766"/>
            <a:ext cx="8017376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Autofit/>
          </a:bodyPr>
          <a:lstStyle>
            <a:lvl1pPr marR="0" lvl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p1"/>
          <p:cNvSpPr txBox="1"/>
          <p:nvPr/>
        </p:nvSpPr>
        <p:spPr>
          <a:xfrm>
            <a:off x="6262890" y="4993461"/>
            <a:ext cx="2881110" cy="15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25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©2020 Mayo Foundation for Medical Education and Research  |  slide-</a:t>
            </a:r>
            <a:fld id="{00000000-1234-1234-1234-123412341234}" type="slidenum">
              <a:rPr lang="en-US" sz="525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525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1" r:id="rId2"/>
    <p:sldLayoutId id="2147483653" r:id="rId3"/>
    <p:sldLayoutId id="2147483658" r:id="rId4"/>
    <p:sldLayoutId id="2147483659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  <p:sldLayoutId id="2147483707" r:id="rId28"/>
    <p:sldLayoutId id="2147483708" r:id="rId29"/>
    <p:sldLayoutId id="2147483709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16" r:id="rId36"/>
    <p:sldLayoutId id="2147483717" r:id="rId37"/>
    <p:sldLayoutId id="2147483718" r:id="rId38"/>
    <p:sldLayoutId id="2147483719" r:id="rId39"/>
    <p:sldLayoutId id="2147483720" r:id="rId40"/>
    <p:sldLayoutId id="2147483721" r:id="rId41"/>
    <p:sldLayoutId id="2147483722" r:id="rId42"/>
    <p:sldLayoutId id="2147483723" r:id="rId43"/>
    <p:sldLayoutId id="2147483724" r:id="rId44"/>
    <p:sldLayoutId id="2147483725" r:id="rId45"/>
    <p:sldLayoutId id="2147483726" r:id="rId46"/>
    <p:sldLayoutId id="2147483727" r:id="rId47"/>
    <p:sldLayoutId id="2147483728" r:id="rId48"/>
    <p:sldLayoutId id="2147483729" r:id="rId49"/>
    <p:sldLayoutId id="2147483730" r:id="rId50"/>
    <p:sldLayoutId id="2147483731" r:id="rId51"/>
    <p:sldLayoutId id="2147483732" r:id="rId52"/>
    <p:sldLayoutId id="2147483733" r:id="rId53"/>
    <p:sldLayoutId id="2147483734" r:id="rId54"/>
    <p:sldLayoutId id="2147483735" r:id="rId55"/>
    <p:sldLayoutId id="2147483737" r:id="rId5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AE7C64B-32F2-43AE-C405-5937F0D5E6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EC990C-0435-FF37-BFA1-1B0FA6D0C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C86BDE-6D61-9C41-355D-3972EF674E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9E8178-BA40-455D-B239-AAB82ED40AB5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A72079-4528-CCD0-7487-61FE390A80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476186-7947-0835-AB63-BEC1A7DE11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0391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</p:sldLayoutIdLst>
  <p:hf sldNum="0" hdr="0" ftr="0" dt="0"/>
  <p:txStyles>
    <p:titleStyle>
      <a:lvl1pPr algn="l" defTabSz="685628" rtl="0" eaLnBrk="1" latinLnBrk="0" hangingPunct="1">
        <a:lnSpc>
          <a:spcPct val="90000"/>
        </a:lnSpc>
        <a:spcBef>
          <a:spcPct val="0"/>
        </a:spcBef>
        <a:buNone/>
        <a:defRPr sz="32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07" indent="-171407" algn="l" defTabSz="685628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14222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7036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850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665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478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93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107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3921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1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28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43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57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72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86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00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1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8.xml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7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74889-C80D-414F-816E-150A7C1C3F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>
                <a:solidFill>
                  <a:srgbClr val="0070C0"/>
                </a:solidFill>
              </a:rPr>
              <a:t>Internship Learning</a:t>
            </a:r>
          </a:p>
        </p:txBody>
      </p:sp>
      <p:sp>
        <p:nvSpPr>
          <p:cNvPr id="3" name="object 6">
            <a:extLst>
              <a:ext uri="{FF2B5EF4-FFF2-40B4-BE49-F238E27FC236}">
                <a16:creationId xmlns:a16="http://schemas.microsoft.com/office/drawing/2014/main" id="{57D37C34-9E53-8F44-38BE-76BB7A6E836E}"/>
              </a:ext>
            </a:extLst>
          </p:cNvPr>
          <p:cNvSpPr txBox="1"/>
          <p:nvPr/>
        </p:nvSpPr>
        <p:spPr>
          <a:xfrm>
            <a:off x="694967" y="4110312"/>
            <a:ext cx="1503680" cy="514885"/>
          </a:xfrm>
          <a:prstGeom prst="rect">
            <a:avLst/>
          </a:prstGeom>
        </p:spPr>
        <p:txBody>
          <a:bodyPr vert="horz" wrap="square" lIns="0" tIns="40005" rIns="0" bIns="0" rtlCol="0">
            <a:spAutoFit/>
          </a:bodyPr>
          <a:lstStyle/>
          <a:p>
            <a:pPr marL="12700" marR="5080">
              <a:lnSpc>
                <a:spcPts val="1730"/>
              </a:lnSpc>
              <a:spcBef>
                <a:spcPts val="315"/>
              </a:spcBef>
            </a:pPr>
            <a:r>
              <a:rPr lang="en-US" sz="1200" spc="-20">
                <a:latin typeface="Arial"/>
                <a:cs typeface="Arial"/>
              </a:rPr>
              <a:t>August 2</a:t>
            </a:r>
            <a:r>
              <a:rPr lang="en-US" sz="1200" spc="-20" baseline="30000">
                <a:latin typeface="Arial"/>
                <a:cs typeface="Arial"/>
              </a:rPr>
              <a:t>nd</a:t>
            </a:r>
            <a:r>
              <a:rPr lang="en-US" sz="1200" spc="-20">
                <a:latin typeface="Arial"/>
                <a:cs typeface="Arial"/>
              </a:rPr>
              <a:t>, 2023</a:t>
            </a:r>
          </a:p>
          <a:p>
            <a:pPr marL="12700" marR="5080">
              <a:lnSpc>
                <a:spcPts val="1730"/>
              </a:lnSpc>
              <a:spcBef>
                <a:spcPts val="315"/>
              </a:spcBef>
            </a:pPr>
            <a:r>
              <a:rPr lang="en-US" sz="1200">
                <a:solidFill>
                  <a:schemeClr val="tx1">
                    <a:lumMod val="50000"/>
                  </a:schemeClr>
                </a:solidFill>
                <a:cs typeface="Arial"/>
              </a:rPr>
              <a:t>Tony Yim</a:t>
            </a:r>
            <a:endParaRPr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7039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3" name="Google Shape;1083;p106"/>
          <p:cNvSpPr txBox="1">
            <a:spLocks noGrp="1"/>
          </p:cNvSpPr>
          <p:nvPr>
            <p:ph type="title"/>
          </p:nvPr>
        </p:nvSpPr>
        <p:spPr>
          <a:xfrm>
            <a:off x="636302" y="1831507"/>
            <a:ext cx="1325900" cy="10625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34275" rtlCol="0" anchor="ctr" anchorCtr="0">
            <a:noAutofit/>
          </a:bodyPr>
          <a:lstStyle/>
          <a:p>
            <a:r>
              <a:rPr lang="en-US"/>
              <a:t>Future Steps</a:t>
            </a:r>
            <a:endParaRPr/>
          </a:p>
        </p:txBody>
      </p:sp>
      <p:sp>
        <p:nvSpPr>
          <p:cNvPr id="1084" name="Google Shape;1084;p106"/>
          <p:cNvSpPr/>
          <p:nvPr/>
        </p:nvSpPr>
        <p:spPr>
          <a:xfrm>
            <a:off x="3587830" y="2362788"/>
            <a:ext cx="5554980" cy="0"/>
          </a:xfrm>
          <a:custGeom>
            <a:avLst/>
            <a:gdLst/>
            <a:ahLst/>
            <a:cxnLst/>
            <a:rect l="l" t="t" r="r" b="b"/>
            <a:pathLst>
              <a:path w="11815011" h="120000" extrusionOk="0">
                <a:moveTo>
                  <a:pt x="0" y="0"/>
                </a:moveTo>
                <a:lnTo>
                  <a:pt x="11815011" y="0"/>
                </a:lnTo>
              </a:path>
            </a:pathLst>
          </a:cu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5" name="Google Shape;1085;p106"/>
          <p:cNvSpPr/>
          <p:nvPr/>
        </p:nvSpPr>
        <p:spPr>
          <a:xfrm>
            <a:off x="5242935" y="1942561"/>
            <a:ext cx="847503" cy="847503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86" name="Google Shape;1086;p106"/>
          <p:cNvSpPr/>
          <p:nvPr/>
        </p:nvSpPr>
        <p:spPr>
          <a:xfrm>
            <a:off x="3285986" y="1942561"/>
            <a:ext cx="847503" cy="847503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87" name="Google Shape;1087;p106"/>
          <p:cNvSpPr/>
          <p:nvPr/>
        </p:nvSpPr>
        <p:spPr>
          <a:xfrm>
            <a:off x="7192050" y="1942561"/>
            <a:ext cx="847503" cy="847503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88" name="Google Shape;1088;p106"/>
          <p:cNvSpPr txBox="1"/>
          <p:nvPr/>
        </p:nvSpPr>
        <p:spPr>
          <a:xfrm>
            <a:off x="2922734" y="1615933"/>
            <a:ext cx="1574007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68569" bIns="0" anchor="b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accent1"/>
              </a:buClr>
              <a:buSzPts val="1800"/>
            </a:pPr>
            <a:r>
              <a:rPr lang="en-US" sz="135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linical Validation </a:t>
            </a:r>
          </a:p>
        </p:txBody>
      </p:sp>
      <p:sp>
        <p:nvSpPr>
          <p:cNvPr id="1089" name="Google Shape;1089;p106"/>
          <p:cNvSpPr txBox="1"/>
          <p:nvPr/>
        </p:nvSpPr>
        <p:spPr>
          <a:xfrm>
            <a:off x="2922734" y="3065859"/>
            <a:ext cx="1574007" cy="7310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68569" bIns="34275" anchor="t" anchorCtr="0">
            <a:noAutofit/>
          </a:bodyPr>
          <a:lstStyle/>
          <a:p>
            <a:pPr algn="ctr">
              <a:buClr>
                <a:schemeClr val="accent1"/>
              </a:buClr>
              <a:buSzPts val="1600"/>
            </a:pPr>
            <a:r>
              <a:rPr lang="en-US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ouble-check reference table with clinical expert</a:t>
            </a:r>
          </a:p>
          <a:p>
            <a:pPr algn="ctr">
              <a:buClr>
                <a:schemeClr val="accent1"/>
              </a:buClr>
              <a:buSzPts val="1600"/>
            </a:pPr>
            <a:endParaRPr lang="en-US"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>
              <a:buClr>
                <a:schemeClr val="accent1"/>
              </a:buClr>
              <a:buSzPts val="1600"/>
            </a:pPr>
            <a:r>
              <a:rPr lang="en-US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urther investigation of unmapped codes</a:t>
            </a:r>
          </a:p>
        </p:txBody>
      </p:sp>
      <p:sp>
        <p:nvSpPr>
          <p:cNvPr id="1090" name="Google Shape;1090;p106"/>
          <p:cNvSpPr txBox="1"/>
          <p:nvPr/>
        </p:nvSpPr>
        <p:spPr>
          <a:xfrm>
            <a:off x="4879683" y="1613610"/>
            <a:ext cx="1574007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68569" bIns="0" anchor="b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accent1"/>
              </a:buClr>
              <a:buSzPts val="1800"/>
            </a:pPr>
            <a:r>
              <a:rPr lang="en-US" sz="135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ransfer to Discover</a:t>
            </a:r>
          </a:p>
        </p:txBody>
      </p:sp>
      <p:sp>
        <p:nvSpPr>
          <p:cNvPr id="1091" name="Google Shape;1091;p106"/>
          <p:cNvSpPr txBox="1"/>
          <p:nvPr/>
        </p:nvSpPr>
        <p:spPr>
          <a:xfrm>
            <a:off x="4879683" y="3065859"/>
            <a:ext cx="1574007" cy="7310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68569" bIns="34275" anchor="t" anchorCtr="0">
            <a:noAutofit/>
          </a:bodyPr>
          <a:lstStyle/>
          <a:p>
            <a:pPr algn="ctr">
              <a:buClr>
                <a:schemeClr val="accent1"/>
              </a:buClr>
              <a:buSzPts val="1600"/>
            </a:pPr>
            <a:r>
              <a:rPr lang="en-US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or users to increase efficiency  </a:t>
            </a:r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2" name="Google Shape;1092;p106"/>
          <p:cNvSpPr txBox="1"/>
          <p:nvPr/>
        </p:nvSpPr>
        <p:spPr>
          <a:xfrm>
            <a:off x="6828798" y="1613610"/>
            <a:ext cx="1574007" cy="1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68569" bIns="0" anchor="b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accent1"/>
              </a:buClr>
              <a:buSzPts val="1800"/>
            </a:pPr>
            <a:r>
              <a:rPr lang="en-US" sz="135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pping to OMOP Data Model</a:t>
            </a:r>
          </a:p>
        </p:txBody>
      </p:sp>
      <p:sp>
        <p:nvSpPr>
          <p:cNvPr id="1093" name="Google Shape;1093;p106"/>
          <p:cNvSpPr txBox="1"/>
          <p:nvPr/>
        </p:nvSpPr>
        <p:spPr>
          <a:xfrm>
            <a:off x="6828798" y="3065859"/>
            <a:ext cx="1574007" cy="7310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68569" bIns="34275" anchor="t" anchorCtr="0">
            <a:noAutofit/>
          </a:bodyPr>
          <a:lstStyle/>
          <a:p>
            <a:pPr algn="ctr">
              <a:buClr>
                <a:schemeClr val="accent1"/>
              </a:buClr>
              <a:buSzPts val="1600"/>
            </a:pPr>
            <a:r>
              <a:rPr lang="en-US" sz="12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Valuable and important step for MCP</a:t>
            </a:r>
            <a:endParaRPr sz="1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8B181F2-F450-3B35-7537-F76FD5F1CB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5753" y="4025364"/>
            <a:ext cx="949216" cy="94921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" name="Google Shape;798;p90"/>
          <p:cNvSpPr txBox="1">
            <a:spLocks noGrp="1"/>
          </p:cNvSpPr>
          <p:nvPr>
            <p:ph type="ctrTitle"/>
          </p:nvPr>
        </p:nvSpPr>
        <p:spPr>
          <a:xfrm>
            <a:off x="285751" y="1381291"/>
            <a:ext cx="5093180" cy="105712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400"/>
              <a:t>Unlocking the Potential of Healthcare Informatics through Disease Code Mapping</a:t>
            </a:r>
            <a:endParaRPr lang="en-US"/>
          </a:p>
        </p:txBody>
      </p:sp>
      <p:sp>
        <p:nvSpPr>
          <p:cNvPr id="799" name="Google Shape;799;p90"/>
          <p:cNvSpPr txBox="1">
            <a:spLocks noGrp="1"/>
          </p:cNvSpPr>
          <p:nvPr>
            <p:ph type="subTitle" idx="1"/>
          </p:nvPr>
        </p:nvSpPr>
        <p:spPr>
          <a:xfrm>
            <a:off x="285751" y="2651112"/>
            <a:ext cx="4209760" cy="66439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34275" rtlCol="0" anchor="t" anchorCtr="0">
            <a:noAutofit/>
          </a:bodyPr>
          <a:lstStyle/>
          <a:p>
            <a:pPr marL="0" indent="0">
              <a:lnSpc>
                <a:spcPct val="100000"/>
              </a:lnSpc>
            </a:pPr>
            <a:r>
              <a:rPr lang="en-US" sz="1500"/>
              <a:t>Bridging the Gap Between Disease Names and Standardized Codes</a:t>
            </a:r>
          </a:p>
        </p:txBody>
      </p:sp>
      <p:sp>
        <p:nvSpPr>
          <p:cNvPr id="801" name="Google Shape;801;p90"/>
          <p:cNvSpPr txBox="1"/>
          <p:nvPr/>
        </p:nvSpPr>
        <p:spPr>
          <a:xfrm>
            <a:off x="7316390" y="4883934"/>
            <a:ext cx="1826420" cy="15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r"/>
            <a:r>
              <a:rPr lang="en-US" sz="525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age copyright Shutterstock / ver0nicka</a:t>
            </a:r>
            <a:endParaRPr sz="1350"/>
          </a:p>
        </p:txBody>
      </p:sp>
      <p:sp>
        <p:nvSpPr>
          <p:cNvPr id="802" name="Google Shape;802;p90"/>
          <p:cNvSpPr txBox="1"/>
          <p:nvPr/>
        </p:nvSpPr>
        <p:spPr>
          <a:xfrm>
            <a:off x="6262450" y="4993461"/>
            <a:ext cx="2880360" cy="150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r"/>
            <a:r>
              <a:rPr lang="en-US" sz="525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©2020 Mayo Foundation for Medical Education and Research  |  slide-</a:t>
            </a:r>
            <a:fld id="{00000000-1234-1234-1234-123412341234}" type="slidenum">
              <a:rPr lang="en-US" sz="525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algn="r"/>
              <a:t>2</a:t>
            </a:fld>
            <a:endParaRPr sz="525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799;p90">
            <a:extLst>
              <a:ext uri="{FF2B5EF4-FFF2-40B4-BE49-F238E27FC236}">
                <a16:creationId xmlns:a16="http://schemas.microsoft.com/office/drawing/2014/main" id="{A2D245E0-43BD-DB1D-8E3F-3E0EA93AB99A}"/>
              </a:ext>
            </a:extLst>
          </p:cNvPr>
          <p:cNvSpPr txBox="1">
            <a:spLocks/>
          </p:cNvSpPr>
          <p:nvPr/>
        </p:nvSpPr>
        <p:spPr>
          <a:xfrm>
            <a:off x="285751" y="3867088"/>
            <a:ext cx="5011375" cy="6643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ctr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ctr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ctr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ctr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7F7F7F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00000"/>
              </a:lnSpc>
            </a:pPr>
            <a:r>
              <a:rPr lang="en-US" sz="1500">
                <a:solidFill>
                  <a:schemeClr val="accent4">
                    <a:lumMod val="75000"/>
                  </a:schemeClr>
                </a:solidFill>
                <a:latin typeface="time"/>
                <a:cs typeface="Calibri"/>
              </a:rPr>
              <a:t>Tony Yim</a:t>
            </a:r>
            <a:endParaRPr lang="en-US" sz="1500" b="0">
              <a:solidFill>
                <a:schemeClr val="accent4">
                  <a:lumMod val="75000"/>
                </a:schemeClr>
              </a:solidFill>
              <a:latin typeface="time"/>
              <a:cs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</a:pPr>
            <a:r>
              <a:rPr lang="en-US" sz="1050" b="0">
                <a:solidFill>
                  <a:schemeClr val="accent4">
                    <a:lumMod val="75000"/>
                  </a:schemeClr>
                </a:solidFill>
                <a:latin typeface="time"/>
                <a:cs typeface="Calibri"/>
              </a:rPr>
              <a:t>Data Science Intern, </a:t>
            </a:r>
            <a:r>
              <a:rPr lang="en-US" sz="1050" b="0" err="1">
                <a:solidFill>
                  <a:schemeClr val="accent4">
                    <a:lumMod val="75000"/>
                  </a:schemeClr>
                </a:solidFill>
                <a:latin typeface="time"/>
                <a:cs typeface="Calibri"/>
              </a:rPr>
              <a:t>MCP_Accelerate</a:t>
            </a:r>
            <a:endParaRPr lang="en-US" sz="1050" b="0">
              <a:solidFill>
                <a:schemeClr val="accent4">
                  <a:lumMod val="75000"/>
                </a:schemeClr>
              </a:solidFill>
              <a:latin typeface="time"/>
              <a:cs typeface="Calibri" panose="020F0502020204030204" pitchFamily="34" charset="0"/>
            </a:endParaRPr>
          </a:p>
          <a:p>
            <a:pPr marL="0" indent="0"/>
            <a:endParaRPr lang="en-US" sz="1200" b="0">
              <a:solidFill>
                <a:schemeClr val="accent4">
                  <a:lumMod val="75000"/>
                </a:schemeClr>
              </a:solidFill>
              <a:latin typeface="time"/>
              <a:cs typeface="Calibri"/>
            </a:endParaRPr>
          </a:p>
          <a:p>
            <a:pPr marL="0" indent="0"/>
            <a:endParaRPr lang="en-US" sz="1200" b="0">
              <a:solidFill>
                <a:schemeClr val="accent4">
                  <a:lumMod val="75000"/>
                </a:schemeClr>
              </a:solidFill>
              <a:latin typeface="time"/>
              <a:cs typeface="Calibri"/>
            </a:endParaRPr>
          </a:p>
          <a:p>
            <a:pPr marL="342900" lvl="1"/>
            <a:r>
              <a:rPr lang="en-US" sz="750">
                <a:solidFill>
                  <a:schemeClr val="accent4">
                    <a:lumMod val="75000"/>
                  </a:schemeClr>
                </a:solidFill>
                <a:latin typeface="time"/>
                <a:cs typeface="Calibri"/>
              </a:rPr>
              <a:t>                                                                                                                                  Summer 2023</a:t>
            </a:r>
          </a:p>
        </p:txBody>
      </p:sp>
      <p:pic>
        <p:nvPicPr>
          <p:cNvPr id="7" name="Picture 7" descr="A diagram of a number&#10;&#10;Description automatically generated">
            <a:extLst>
              <a:ext uri="{FF2B5EF4-FFF2-40B4-BE49-F238E27FC236}">
                <a16:creationId xmlns:a16="http://schemas.microsoft.com/office/drawing/2014/main" id="{A4818842-B381-72C4-CC43-F45D662B1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7170" y="1975254"/>
            <a:ext cx="3362735" cy="152394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3E3BF03-E84A-EDA4-61AC-CEED9A16F153}"/>
              </a:ext>
            </a:extLst>
          </p:cNvPr>
          <p:cNvSpPr txBox="1"/>
          <p:nvPr/>
        </p:nvSpPr>
        <p:spPr>
          <a:xfrm>
            <a:off x="6627303" y="3503464"/>
            <a:ext cx="2057400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1350">
              <a:solidFill>
                <a:srgbClr val="0070C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AE20FA-E714-35A9-8D85-B062ABB61427}"/>
              </a:ext>
            </a:extLst>
          </p:cNvPr>
          <p:cNvSpPr/>
          <p:nvPr/>
        </p:nvSpPr>
        <p:spPr>
          <a:xfrm>
            <a:off x="5475608" y="1523745"/>
            <a:ext cx="3426701" cy="31715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  <a:cs typeface="Arial"/>
              </a:rPr>
              <a:t>An example of ICD-10-CM (diagnosis code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4F4B576-5B95-3669-6B2E-91B546DFC519}"/>
              </a:ext>
            </a:extLst>
          </p:cNvPr>
          <p:cNvSpPr/>
          <p:nvPr/>
        </p:nvSpPr>
        <p:spPr>
          <a:xfrm>
            <a:off x="5475635" y="1889167"/>
            <a:ext cx="3419807" cy="1765061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ADC1D44-46C2-1FB2-39B0-153865E9D303}"/>
              </a:ext>
            </a:extLst>
          </p:cNvPr>
          <p:cNvCxnSpPr/>
          <p:nvPr/>
        </p:nvCxnSpPr>
        <p:spPr>
          <a:xfrm flipV="1">
            <a:off x="286347" y="4352497"/>
            <a:ext cx="2852191" cy="3677"/>
          </a:xfrm>
          <a:prstGeom prst="straightConnector1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1" name="Google Shape;841;p94"/>
          <p:cNvSpPr txBox="1">
            <a:spLocks noGrp="1"/>
          </p:cNvSpPr>
          <p:nvPr>
            <p:ph type="title"/>
          </p:nvPr>
        </p:nvSpPr>
        <p:spPr>
          <a:xfrm>
            <a:off x="285750" y="230982"/>
            <a:ext cx="5559029" cy="440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b" anchorCtr="0">
            <a:noAutofit/>
          </a:bodyPr>
          <a:lstStyle/>
          <a:p>
            <a:r>
              <a:rPr lang="en-US"/>
              <a:t>About Me</a:t>
            </a:r>
            <a:endParaRPr/>
          </a:p>
        </p:txBody>
      </p:sp>
      <p:sp>
        <p:nvSpPr>
          <p:cNvPr id="842" name="Google Shape;842;p94"/>
          <p:cNvSpPr txBox="1">
            <a:spLocks noGrp="1"/>
          </p:cNvSpPr>
          <p:nvPr>
            <p:ph type="body" idx="1"/>
          </p:nvPr>
        </p:nvSpPr>
        <p:spPr>
          <a:xfrm>
            <a:off x="285751" y="771865"/>
            <a:ext cx="5630465" cy="41406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4275" anchor="t" anchorCtr="0">
            <a:noAutofit/>
          </a:bodyPr>
          <a:lstStyle/>
          <a:p>
            <a:pPr marL="128270" indent="-128270"/>
            <a:r>
              <a:rPr lang="en-US">
                <a:cs typeface="Calibri"/>
              </a:rPr>
              <a:t>Data Science Intern in MCP Accelerate </a:t>
            </a:r>
            <a:endParaRPr lang="en-US">
              <a:cs typeface="Calibri" panose="020F0502020204030204" pitchFamily="34" charset="0"/>
            </a:endParaRPr>
          </a:p>
          <a:p>
            <a:pPr marL="128270" indent="-128270"/>
            <a:r>
              <a:rPr lang="en-US">
                <a:cs typeface="Calibri"/>
              </a:rPr>
              <a:t>Education:</a:t>
            </a:r>
          </a:p>
          <a:p>
            <a:pPr marL="471170" lvl="1" indent="-128270"/>
            <a:r>
              <a:rPr lang="en-US">
                <a:cs typeface="Calibri"/>
              </a:rPr>
              <a:t>University of Texas at Dallas</a:t>
            </a:r>
          </a:p>
          <a:p>
            <a:pPr marL="814070" lvl="2" indent="-128270">
              <a:buChar char="−"/>
            </a:pPr>
            <a:r>
              <a:rPr lang="en-US" sz="1050">
                <a:cs typeface="Calibri"/>
              </a:rPr>
              <a:t>M.S. Business Analytics </a:t>
            </a:r>
            <a:r>
              <a:rPr lang="en-US" sz="800">
                <a:cs typeface="Calibri"/>
              </a:rPr>
              <a:t>(Data Science Track)</a:t>
            </a:r>
            <a:r>
              <a:rPr lang="en-US" sz="1050">
                <a:cs typeface="Calibri"/>
              </a:rPr>
              <a:t> ‘23 Aug.</a:t>
            </a:r>
          </a:p>
          <a:p>
            <a:pPr marL="814070" lvl="2" indent="-128270">
              <a:buChar char="−"/>
            </a:pPr>
            <a:r>
              <a:rPr lang="en-US" sz="1050">
                <a:cs typeface="Calibri"/>
              </a:rPr>
              <a:t>B.S. Finance ‘21</a:t>
            </a:r>
          </a:p>
          <a:p>
            <a:pPr marL="128270" indent="-128270"/>
            <a:r>
              <a:rPr lang="en-US">
                <a:cs typeface="Calibri"/>
              </a:rPr>
              <a:t>Related Projects:</a:t>
            </a:r>
          </a:p>
          <a:p>
            <a:pPr marL="471170" lvl="1" indent="-128270"/>
            <a:r>
              <a:rPr lang="en-US">
                <a:cs typeface="Calibri"/>
              </a:rPr>
              <a:t>Distributed Data Processing Project with Hadoop: </a:t>
            </a:r>
            <a:endParaRPr lang="en-US" sz="1350">
              <a:cs typeface="Calibri"/>
            </a:endParaRPr>
          </a:p>
          <a:p>
            <a:pPr lvl="2"/>
            <a:r>
              <a:rPr lang="en-US" sz="1050">
                <a:cs typeface="Calibri"/>
              </a:rPr>
              <a:t>Topic: Effects of Weather on Flight Delays</a:t>
            </a:r>
            <a:endParaRPr lang="en-US" sz="1350">
              <a:cs typeface="Calibri"/>
            </a:endParaRPr>
          </a:p>
          <a:p>
            <a:pPr lvl="2"/>
            <a:r>
              <a:rPr lang="en-US" sz="1050">
                <a:cs typeface="Calibri"/>
              </a:rPr>
              <a:t>Utilized Hadoop, HDFS, Spark, and Python to process data and conduct queries, identifying the key factors influencing flight delays.</a:t>
            </a:r>
          </a:p>
          <a:p>
            <a:pPr marL="471170" lvl="1" indent="-128270"/>
            <a:r>
              <a:rPr lang="en-US">
                <a:cs typeface="Calibri"/>
              </a:rPr>
              <a:t>Programming Projects:</a:t>
            </a:r>
          </a:p>
          <a:p>
            <a:pPr lvl="2"/>
            <a:r>
              <a:rPr lang="en-US" sz="1050">
                <a:cs typeface="Calibri"/>
              </a:rPr>
              <a:t>Topic: Prediction of Housing Prices</a:t>
            </a:r>
          </a:p>
          <a:p>
            <a:pPr lvl="2"/>
            <a:r>
              <a:rPr lang="en-US" sz="1050">
                <a:cs typeface="Calibri"/>
              </a:rPr>
              <a:t>Conducted data cleaning and performed exploratory data analysis on housing sales data using Python visualization techniques.</a:t>
            </a:r>
          </a:p>
          <a:p>
            <a:pPr marL="128270" indent="-128270"/>
            <a:r>
              <a:rPr lang="en-US">
                <a:cs typeface="Calibri"/>
              </a:rPr>
              <a:t>Technical Skill Experience:</a:t>
            </a:r>
          </a:p>
          <a:p>
            <a:pPr marL="471170" lvl="1" indent="-128270"/>
            <a:r>
              <a:rPr lang="en-US">
                <a:cs typeface="Calibri"/>
              </a:rPr>
              <a:t>Programming: Python, R, SQL, </a:t>
            </a:r>
            <a:r>
              <a:rPr lang="en-US" err="1">
                <a:cs typeface="Calibri"/>
              </a:rPr>
              <a:t>Pyspark</a:t>
            </a:r>
            <a:endParaRPr lang="en-US">
              <a:cs typeface="Calibri"/>
            </a:endParaRPr>
          </a:p>
          <a:p>
            <a:pPr marL="471170" lvl="1" indent="-128270"/>
            <a:r>
              <a:rPr lang="en-US">
                <a:cs typeface="Calibri"/>
              </a:rPr>
              <a:t>Software: Apache Hive, Tableau, </a:t>
            </a:r>
            <a:r>
              <a:rPr lang="en-US" err="1">
                <a:cs typeface="Calibri"/>
              </a:rPr>
              <a:t>Jupyter</a:t>
            </a:r>
            <a:r>
              <a:rPr lang="en-US">
                <a:cs typeface="Calibri"/>
              </a:rPr>
              <a:t> Notebook, MySQL, MongoDB</a:t>
            </a:r>
          </a:p>
          <a:p>
            <a:pPr marL="471170" lvl="1" indent="-128270"/>
            <a:endParaRPr lang="en-US">
              <a:cs typeface="Calibri" panose="020F0502020204030204" pitchFamily="34" charset="0"/>
            </a:endParaRPr>
          </a:p>
          <a:p>
            <a:pPr marL="128270" indent="-128270"/>
            <a:endParaRPr lang="en-US">
              <a:cs typeface="Calibri" panose="020F0502020204030204" pitchFamily="34" charset="0"/>
            </a:endParaRPr>
          </a:p>
          <a:p>
            <a:pPr marL="814070" lvl="2" indent="-128270">
              <a:buChar char="−"/>
            </a:pPr>
            <a:endParaRPr lang="en-US">
              <a:cs typeface="Calibri" panose="020F0502020204030204" pitchFamily="34" charset="0"/>
            </a:endParaRPr>
          </a:p>
          <a:p>
            <a:pPr marL="128270" indent="-42545">
              <a:buNone/>
            </a:pPr>
            <a:endParaRPr lang="en-US"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79A955-4C64-0147-95BD-034E5015E9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8738" y="0"/>
            <a:ext cx="3184072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33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4" name="Google Shape;864;p97"/>
          <p:cNvSpPr txBox="1">
            <a:spLocks noGrp="1"/>
          </p:cNvSpPr>
          <p:nvPr>
            <p:ph type="title"/>
          </p:nvPr>
        </p:nvSpPr>
        <p:spPr>
          <a:xfrm>
            <a:off x="285751" y="402431"/>
            <a:ext cx="4025503" cy="131445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34275" rtlCol="0" anchor="b" anchorCtr="0">
            <a:normAutofit/>
          </a:bodyPr>
          <a:lstStyle/>
          <a:p>
            <a:pPr>
              <a:buSzPct val="100000"/>
            </a:pPr>
            <a:r>
              <a:rPr lang="en-US"/>
              <a:t>Problem Statement</a:t>
            </a:r>
            <a:br>
              <a:rPr lang="en-US"/>
            </a:br>
            <a:endParaRPr/>
          </a:p>
        </p:txBody>
      </p:sp>
      <p:sp>
        <p:nvSpPr>
          <p:cNvPr id="865" name="Google Shape;865;p97"/>
          <p:cNvSpPr txBox="1">
            <a:spLocks noGrp="1"/>
          </p:cNvSpPr>
          <p:nvPr>
            <p:ph type="body" idx="1"/>
          </p:nvPr>
        </p:nvSpPr>
        <p:spPr>
          <a:xfrm>
            <a:off x="285750" y="2450238"/>
            <a:ext cx="4025503" cy="77419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Objective: Create comprehensive mapping system; streamline process of identifying accurate and standardized codes</a:t>
            </a:r>
            <a:endParaRPr lang="en-US">
              <a:highlight>
                <a:srgbClr val="808000"/>
              </a:highlight>
            </a:endParaRPr>
          </a:p>
        </p:txBody>
      </p:sp>
      <p:sp>
        <p:nvSpPr>
          <p:cNvPr id="866" name="Google Shape;866;p97"/>
          <p:cNvSpPr txBox="1">
            <a:spLocks noGrp="1"/>
          </p:cNvSpPr>
          <p:nvPr>
            <p:ph type="body" idx="2"/>
          </p:nvPr>
        </p:nvSpPr>
        <p:spPr>
          <a:xfrm>
            <a:off x="285750" y="3362995"/>
            <a:ext cx="4025503" cy="130535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34275" rtlCol="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1350"/>
              <a:t>Start-up companies lack corresponding codes for disease names, hindering the construction of comprehensive patient cohorts</a:t>
            </a:r>
          </a:p>
          <a:p>
            <a:pPr marL="0" indent="0">
              <a:spcBef>
                <a:spcPts val="0"/>
              </a:spcBef>
            </a:pPr>
            <a:endParaRPr lang="en-US" sz="1350"/>
          </a:p>
          <a:p>
            <a:pPr marL="0" indent="0">
              <a:spcBef>
                <a:spcPts val="0"/>
              </a:spcBef>
            </a:pPr>
            <a:r>
              <a:rPr lang="en-US" sz="1350"/>
              <a:t>Efficient mapping technique is needed to identify the appropriate codes </a:t>
            </a:r>
          </a:p>
          <a:p>
            <a:pPr marL="0" indent="0">
              <a:spcBef>
                <a:spcPts val="0"/>
              </a:spcBef>
            </a:pPr>
            <a:endParaRPr/>
          </a:p>
          <a:p>
            <a:pPr marL="0" indent="0"/>
            <a:endParaRPr/>
          </a:p>
        </p:txBody>
      </p:sp>
      <p:sp>
        <p:nvSpPr>
          <p:cNvPr id="867" name="Google Shape;867;p97"/>
          <p:cNvSpPr txBox="1">
            <a:spLocks noGrp="1"/>
          </p:cNvSpPr>
          <p:nvPr>
            <p:ph type="body" idx="3"/>
          </p:nvPr>
        </p:nvSpPr>
        <p:spPr>
          <a:xfrm>
            <a:off x="4832748" y="2571750"/>
            <a:ext cx="4083843" cy="130535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500" b="1"/>
              <a:t>Expected result: </a:t>
            </a:r>
            <a:endParaRPr lang="en-US" sz="1500"/>
          </a:p>
          <a:p>
            <a:pPr marL="128270" indent="-128270">
              <a:spcBef>
                <a:spcPts val="0"/>
              </a:spcBef>
            </a:pPr>
            <a:endParaRPr lang="en-US" sz="1500"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350"/>
              <a:t>An algorithm that can be deployed in MCP data to extract/find patients with any diagnosis code</a:t>
            </a:r>
            <a:endParaRPr lang="en-US" sz="1350"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8168E-C725-448D-9290-BFC4AD2E8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951" y="177226"/>
            <a:ext cx="7486650" cy="440531"/>
          </a:xfrm>
        </p:spPr>
        <p:txBody>
          <a:bodyPr/>
          <a:lstStyle/>
          <a:p>
            <a:r>
              <a:rPr lang="en-US"/>
              <a:t>MCP Patient Data Analysis: Overview </a:t>
            </a:r>
            <a:endParaRPr lang="en-US" sz="1500" b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B9E361-7BBE-892D-83DC-8B14B2DF0BAD}"/>
              </a:ext>
            </a:extLst>
          </p:cNvPr>
          <p:cNvSpPr txBox="1"/>
          <p:nvPr/>
        </p:nvSpPr>
        <p:spPr>
          <a:xfrm>
            <a:off x="676371" y="657122"/>
            <a:ext cx="811371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/>
              <a:t>2.3 million unique patients</a:t>
            </a:r>
          </a:p>
          <a:p>
            <a:r>
              <a:rPr lang="en-US" sz="1350"/>
              <a:t>Data spans approximately 87 years (1935 to 2023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B8E9193-F32A-FCDF-F8D3-787034791C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59" y="1224989"/>
            <a:ext cx="4461041" cy="3595822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CB97F8E9-90F7-346B-4D4A-2BDA75665B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3976" y="1492760"/>
            <a:ext cx="3594806" cy="2993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87016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86" name="Google Shape;986;p103"/>
          <p:cNvCxnSpPr>
            <a:stCxn id="987" idx="2"/>
          </p:cNvCxnSpPr>
          <p:nvPr/>
        </p:nvCxnSpPr>
        <p:spPr>
          <a:xfrm flipH="1">
            <a:off x="5647715" y="1164431"/>
            <a:ext cx="9450" cy="2836125"/>
          </a:xfrm>
          <a:prstGeom prst="bentConnector3">
            <a:avLst>
              <a:gd name="adj1" fmla="val 4510516"/>
            </a:avLst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87" name="Google Shape;987;p103"/>
          <p:cNvSpPr/>
          <p:nvPr/>
        </p:nvSpPr>
        <p:spPr>
          <a:xfrm>
            <a:off x="5657166" y="866089"/>
            <a:ext cx="596683" cy="596684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65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8" name="Google Shape;988;p103"/>
          <p:cNvSpPr/>
          <p:nvPr/>
        </p:nvSpPr>
        <p:spPr>
          <a:xfrm>
            <a:off x="5237560" y="2564606"/>
            <a:ext cx="428625" cy="0"/>
          </a:xfrm>
          <a:custGeom>
            <a:avLst/>
            <a:gdLst/>
            <a:ahLst/>
            <a:cxnLst/>
            <a:rect l="l" t="t" r="r" b="b"/>
            <a:pathLst>
              <a:path w="571500" h="120000" extrusionOk="0">
                <a:moveTo>
                  <a:pt x="0" y="0"/>
                </a:moveTo>
                <a:lnTo>
                  <a:pt x="571500" y="0"/>
                </a:lnTo>
              </a:path>
            </a:pathLst>
          </a:custGeom>
          <a:noFill/>
          <a:ln w="1905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9" name="Google Shape;989;p103"/>
          <p:cNvSpPr txBox="1">
            <a:spLocks noGrp="1"/>
          </p:cNvSpPr>
          <p:nvPr>
            <p:ph type="title"/>
          </p:nvPr>
        </p:nvSpPr>
        <p:spPr>
          <a:xfrm>
            <a:off x="285751" y="1197769"/>
            <a:ext cx="1672268" cy="137398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34275" rtlCol="0" anchor="t" anchorCtr="0">
            <a:noAutofit/>
          </a:bodyPr>
          <a:lstStyle/>
          <a:p>
            <a:r>
              <a:rPr lang="en-US"/>
              <a:t>OMOP </a:t>
            </a:r>
            <a:r>
              <a:rPr lang="en-US" sz="1050"/>
              <a:t>(Observational Medical Outcomes Partnership)</a:t>
            </a:r>
            <a:endParaRPr/>
          </a:p>
        </p:txBody>
      </p:sp>
      <p:sp>
        <p:nvSpPr>
          <p:cNvPr id="990" name="Google Shape;990;p103"/>
          <p:cNvSpPr txBox="1">
            <a:spLocks noGrp="1"/>
          </p:cNvSpPr>
          <p:nvPr>
            <p:ph type="body" idx="1"/>
          </p:nvPr>
        </p:nvSpPr>
        <p:spPr>
          <a:xfrm>
            <a:off x="6512720" y="355282"/>
            <a:ext cx="2228850" cy="69199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b" anchorCtr="0">
            <a:norm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Standardized framework for conducting research</a:t>
            </a:r>
            <a:endParaRPr/>
          </a:p>
        </p:txBody>
      </p:sp>
      <p:sp>
        <p:nvSpPr>
          <p:cNvPr id="991" name="Google Shape;991;p103"/>
          <p:cNvSpPr txBox="1">
            <a:spLocks noGrp="1"/>
          </p:cNvSpPr>
          <p:nvPr>
            <p:ph type="body" idx="2"/>
          </p:nvPr>
        </p:nvSpPr>
        <p:spPr>
          <a:xfrm>
            <a:off x="6512720" y="3344497"/>
            <a:ext cx="2228850" cy="5359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b" anchorCtr="0">
            <a:norm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Common Data Model (CDM)</a:t>
            </a:r>
            <a:endParaRPr/>
          </a:p>
        </p:txBody>
      </p:sp>
      <p:sp>
        <p:nvSpPr>
          <p:cNvPr id="992" name="Google Shape;992;p103"/>
          <p:cNvSpPr txBox="1">
            <a:spLocks noGrp="1"/>
          </p:cNvSpPr>
          <p:nvPr>
            <p:ph type="body" idx="3"/>
          </p:nvPr>
        </p:nvSpPr>
        <p:spPr>
          <a:xfrm>
            <a:off x="6512720" y="1970515"/>
            <a:ext cx="2228850" cy="48836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b" anchorCtr="0">
            <a:norm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How does OHDSI/OMOP create value?</a:t>
            </a:r>
            <a:endParaRPr/>
          </a:p>
        </p:txBody>
      </p:sp>
      <p:sp>
        <p:nvSpPr>
          <p:cNvPr id="993" name="Google Shape;993;p103"/>
          <p:cNvSpPr txBox="1">
            <a:spLocks noGrp="1"/>
          </p:cNvSpPr>
          <p:nvPr>
            <p:ph type="body" idx="4"/>
          </p:nvPr>
        </p:nvSpPr>
        <p:spPr>
          <a:xfrm>
            <a:off x="6511196" y="1041083"/>
            <a:ext cx="2228850" cy="6858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0" rtlCol="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1050"/>
              <a:t>Standard analytical methods, tools, OMOP CDM, and Standardized Vocabularies.</a:t>
            </a:r>
            <a:endParaRPr sz="1050"/>
          </a:p>
        </p:txBody>
      </p:sp>
      <p:sp>
        <p:nvSpPr>
          <p:cNvPr id="994" name="Google Shape;994;p103"/>
          <p:cNvSpPr txBox="1">
            <a:spLocks noGrp="1"/>
          </p:cNvSpPr>
          <p:nvPr>
            <p:ph type="body" idx="5"/>
          </p:nvPr>
        </p:nvSpPr>
        <p:spPr>
          <a:xfrm>
            <a:off x="6511196" y="2458879"/>
            <a:ext cx="2228850" cy="6858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0" rtlCol="0" anchor="t" anchorCtr="0">
            <a:normAutofit/>
          </a:bodyPr>
          <a:lstStyle/>
          <a:p>
            <a:pPr marL="0" indent="0">
              <a:spcBef>
                <a:spcPts val="0"/>
              </a:spcBef>
            </a:pPr>
            <a:r>
              <a:rPr lang="en-US" sz="1050"/>
              <a:t>OMOP CDM transforms data into a standardized format</a:t>
            </a:r>
            <a:endParaRPr sz="1050"/>
          </a:p>
        </p:txBody>
      </p:sp>
      <p:sp>
        <p:nvSpPr>
          <p:cNvPr id="995" name="Google Shape;995;p103"/>
          <p:cNvSpPr txBox="1">
            <a:spLocks noGrp="1"/>
          </p:cNvSpPr>
          <p:nvPr>
            <p:ph type="body" idx="6"/>
          </p:nvPr>
        </p:nvSpPr>
        <p:spPr>
          <a:xfrm>
            <a:off x="6511196" y="3880485"/>
            <a:ext cx="2228850" cy="6858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0" rtlCol="0" anchor="t" anchorCtr="0">
            <a:normAutofit/>
          </a:bodyPr>
          <a:lstStyle/>
          <a:p>
            <a:pPr marL="0" indent="0">
              <a:spcBef>
                <a:spcPts val="0"/>
              </a:spcBef>
            </a:pPr>
            <a:r>
              <a:rPr lang="en-US" sz="1050"/>
              <a:t>Eliminates requirement for data extraction and enables standardized analytics</a:t>
            </a:r>
            <a:endParaRPr sz="1050"/>
          </a:p>
        </p:txBody>
      </p:sp>
      <p:sp>
        <p:nvSpPr>
          <p:cNvPr id="996" name="Google Shape;996;p103"/>
          <p:cNvSpPr txBox="1">
            <a:spLocks noGrp="1"/>
          </p:cNvSpPr>
          <p:nvPr>
            <p:ph type="body" idx="7"/>
          </p:nvPr>
        </p:nvSpPr>
        <p:spPr>
          <a:xfrm>
            <a:off x="2230433" y="1967889"/>
            <a:ext cx="3028883" cy="124286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4275" rIns="0" bIns="0" rtlCol="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b="1"/>
              <a:t>Mapping UMLS CUI into the OHDSI Voc.*</a:t>
            </a:r>
          </a:p>
          <a:p>
            <a:pPr marL="0" indent="0">
              <a:spcBef>
                <a:spcPts val="0"/>
              </a:spcBef>
            </a:pPr>
            <a:endParaRPr lang="en-US" sz="450" b="1"/>
          </a:p>
          <a:p>
            <a:pPr marL="0" indent="0">
              <a:spcBef>
                <a:spcPts val="0"/>
              </a:spcBef>
            </a:pPr>
            <a:r>
              <a:rPr lang="en-US"/>
              <a:t>Approach:</a:t>
            </a:r>
          </a:p>
          <a:p>
            <a:pPr marL="214313" indent="-214313">
              <a:spcBef>
                <a:spcPts val="0"/>
              </a:spcBef>
              <a:buChar char="•"/>
            </a:pPr>
            <a:r>
              <a:rPr lang="en-US" sz="900"/>
              <a:t>Identify matching vocabularies on both sides</a:t>
            </a:r>
          </a:p>
          <a:p>
            <a:pPr marL="214313" indent="-214313">
              <a:spcBef>
                <a:spcPts val="0"/>
              </a:spcBef>
              <a:buChar char="•"/>
            </a:pPr>
            <a:r>
              <a:rPr lang="en-US" sz="900"/>
              <a:t>Obtain CUI (UMLS) via OHDSI and reverse</a:t>
            </a:r>
          </a:p>
          <a:p>
            <a:pPr marL="0" indent="0">
              <a:spcBef>
                <a:spcPts val="0"/>
              </a:spcBef>
            </a:pPr>
            <a:r>
              <a:rPr lang="en-US" b="1"/>
              <a:t>* </a:t>
            </a:r>
            <a:r>
              <a:rPr lang="en-US" sz="900"/>
              <a:t>Challenge: </a:t>
            </a:r>
            <a:r>
              <a:rPr lang="en-US" sz="825"/>
              <a:t>OHDSI concept_code can overlap</a:t>
            </a:r>
          </a:p>
          <a:p>
            <a:pPr marL="0" indent="0">
              <a:spcBef>
                <a:spcPts val="0"/>
              </a:spcBef>
            </a:pPr>
            <a:endParaRPr lang="en-US" sz="1050" b="1"/>
          </a:p>
        </p:txBody>
      </p:sp>
      <p:grpSp>
        <p:nvGrpSpPr>
          <p:cNvPr id="998" name="Google Shape;998;p103"/>
          <p:cNvGrpSpPr/>
          <p:nvPr/>
        </p:nvGrpSpPr>
        <p:grpSpPr>
          <a:xfrm>
            <a:off x="5782940" y="989915"/>
            <a:ext cx="351764" cy="342900"/>
            <a:chOff x="4989513" y="2354263"/>
            <a:chExt cx="2205037" cy="2149476"/>
          </a:xfrm>
        </p:grpSpPr>
        <p:sp>
          <p:nvSpPr>
            <p:cNvPr id="999" name="Google Shape;999;p103"/>
            <p:cNvSpPr/>
            <p:nvPr/>
          </p:nvSpPr>
          <p:spPr>
            <a:xfrm>
              <a:off x="4989513" y="2387601"/>
              <a:ext cx="2171700" cy="1306513"/>
            </a:xfrm>
            <a:custGeom>
              <a:avLst/>
              <a:gdLst/>
              <a:ahLst/>
              <a:cxnLst/>
              <a:rect l="l" t="t" r="r" b="b"/>
              <a:pathLst>
                <a:path w="1368" h="823" extrusionOk="0">
                  <a:moveTo>
                    <a:pt x="69" y="823"/>
                  </a:moveTo>
                  <a:lnTo>
                    <a:pt x="0" y="754"/>
                  </a:lnTo>
                  <a:lnTo>
                    <a:pt x="444" y="310"/>
                  </a:lnTo>
                  <a:lnTo>
                    <a:pt x="718" y="582"/>
                  </a:lnTo>
                  <a:lnTo>
                    <a:pt x="1299" y="0"/>
                  </a:lnTo>
                  <a:lnTo>
                    <a:pt x="1368" y="69"/>
                  </a:lnTo>
                  <a:lnTo>
                    <a:pt x="718" y="719"/>
                  </a:lnTo>
                  <a:lnTo>
                    <a:pt x="444" y="447"/>
                  </a:lnTo>
                  <a:lnTo>
                    <a:pt x="69" y="82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0" name="Google Shape;1000;p103"/>
            <p:cNvSpPr/>
            <p:nvPr/>
          </p:nvSpPr>
          <p:spPr>
            <a:xfrm>
              <a:off x="6657975" y="2354263"/>
              <a:ext cx="536575" cy="536575"/>
            </a:xfrm>
            <a:custGeom>
              <a:avLst/>
              <a:gdLst/>
              <a:ahLst/>
              <a:cxnLst/>
              <a:rect l="l" t="t" r="r" b="b"/>
              <a:pathLst>
                <a:path w="338" h="338" extrusionOk="0">
                  <a:moveTo>
                    <a:pt x="338" y="338"/>
                  </a:moveTo>
                  <a:lnTo>
                    <a:pt x="241" y="338"/>
                  </a:lnTo>
                  <a:lnTo>
                    <a:pt x="241" y="97"/>
                  </a:lnTo>
                  <a:lnTo>
                    <a:pt x="0" y="97"/>
                  </a:lnTo>
                  <a:lnTo>
                    <a:pt x="0" y="0"/>
                  </a:lnTo>
                  <a:lnTo>
                    <a:pt x="338" y="0"/>
                  </a:lnTo>
                  <a:lnTo>
                    <a:pt x="338" y="33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1" name="Google Shape;1001;p103"/>
            <p:cNvSpPr/>
            <p:nvPr/>
          </p:nvSpPr>
          <p:spPr>
            <a:xfrm>
              <a:off x="5661025" y="3427413"/>
              <a:ext cx="153987" cy="107632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2" name="Google Shape;1002;p103"/>
            <p:cNvSpPr/>
            <p:nvPr/>
          </p:nvSpPr>
          <p:spPr>
            <a:xfrm>
              <a:off x="5278438" y="3735388"/>
              <a:ext cx="153987" cy="76835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3" name="Google Shape;1003;p103"/>
            <p:cNvSpPr/>
            <p:nvPr/>
          </p:nvSpPr>
          <p:spPr>
            <a:xfrm>
              <a:off x="6043613" y="3735388"/>
              <a:ext cx="153987" cy="76835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4" name="Google Shape;1004;p103"/>
            <p:cNvSpPr/>
            <p:nvPr/>
          </p:nvSpPr>
          <p:spPr>
            <a:xfrm>
              <a:off x="6429375" y="3427413"/>
              <a:ext cx="150812" cy="1076325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5" name="Google Shape;1005;p103"/>
            <p:cNvSpPr/>
            <p:nvPr/>
          </p:nvSpPr>
          <p:spPr>
            <a:xfrm>
              <a:off x="6811963" y="3044826"/>
              <a:ext cx="153987" cy="1458913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06" name="Google Shape;1006;p103"/>
          <p:cNvSpPr/>
          <p:nvPr/>
        </p:nvSpPr>
        <p:spPr>
          <a:xfrm>
            <a:off x="5652756" y="2251900"/>
            <a:ext cx="596683" cy="596684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65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7" name="Google Shape;1007;p103"/>
          <p:cNvSpPr/>
          <p:nvPr/>
        </p:nvSpPr>
        <p:spPr>
          <a:xfrm>
            <a:off x="5649061" y="3689985"/>
            <a:ext cx="596683" cy="596684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endParaRPr sz="1865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8" name="Google Shape;1008;p103"/>
          <p:cNvGrpSpPr/>
          <p:nvPr/>
        </p:nvGrpSpPr>
        <p:grpSpPr>
          <a:xfrm>
            <a:off x="5844409" y="2400300"/>
            <a:ext cx="216310" cy="342900"/>
            <a:chOff x="5254626" y="2098675"/>
            <a:chExt cx="1676400" cy="2657475"/>
          </a:xfrm>
        </p:grpSpPr>
        <p:sp>
          <p:nvSpPr>
            <p:cNvPr id="1009" name="Google Shape;1009;p103"/>
            <p:cNvSpPr/>
            <p:nvPr/>
          </p:nvSpPr>
          <p:spPr>
            <a:xfrm>
              <a:off x="5254626" y="2098675"/>
              <a:ext cx="1676400" cy="2657475"/>
            </a:xfrm>
            <a:custGeom>
              <a:avLst/>
              <a:gdLst/>
              <a:ahLst/>
              <a:cxnLst/>
              <a:rect l="l" t="t" r="r" b="b"/>
              <a:pathLst>
                <a:path w="447" h="709" extrusionOk="0">
                  <a:moveTo>
                    <a:pt x="223" y="0"/>
                  </a:moveTo>
                  <a:cubicBezTo>
                    <a:pt x="99" y="2"/>
                    <a:pt x="0" y="104"/>
                    <a:pt x="2" y="228"/>
                  </a:cubicBezTo>
                  <a:cubicBezTo>
                    <a:pt x="2" y="259"/>
                    <a:pt x="8" y="290"/>
                    <a:pt x="20" y="319"/>
                  </a:cubicBezTo>
                  <a:cubicBezTo>
                    <a:pt x="223" y="709"/>
                    <a:pt x="223" y="709"/>
                    <a:pt x="223" y="709"/>
                  </a:cubicBezTo>
                  <a:cubicBezTo>
                    <a:pt x="427" y="317"/>
                    <a:pt x="427" y="317"/>
                    <a:pt x="427" y="317"/>
                  </a:cubicBezTo>
                  <a:cubicBezTo>
                    <a:pt x="439" y="289"/>
                    <a:pt x="445" y="258"/>
                    <a:pt x="445" y="228"/>
                  </a:cubicBezTo>
                  <a:cubicBezTo>
                    <a:pt x="447" y="104"/>
                    <a:pt x="348" y="2"/>
                    <a:pt x="223" y="0"/>
                  </a:cubicBezTo>
                  <a:cubicBezTo>
                    <a:pt x="223" y="0"/>
                    <a:pt x="223" y="0"/>
                    <a:pt x="223" y="0"/>
                  </a:cubicBezTo>
                  <a:close/>
                  <a:moveTo>
                    <a:pt x="387" y="298"/>
                  </a:moveTo>
                  <a:cubicBezTo>
                    <a:pt x="223" y="613"/>
                    <a:pt x="223" y="613"/>
                    <a:pt x="223" y="613"/>
                  </a:cubicBezTo>
                  <a:cubicBezTo>
                    <a:pt x="60" y="300"/>
                    <a:pt x="60" y="300"/>
                    <a:pt x="60" y="300"/>
                  </a:cubicBezTo>
                  <a:cubicBezTo>
                    <a:pt x="51" y="277"/>
                    <a:pt x="46" y="253"/>
                    <a:pt x="46" y="228"/>
                  </a:cubicBezTo>
                  <a:cubicBezTo>
                    <a:pt x="45" y="128"/>
                    <a:pt x="124" y="46"/>
                    <a:pt x="223" y="44"/>
                  </a:cubicBezTo>
                  <a:cubicBezTo>
                    <a:pt x="323" y="46"/>
                    <a:pt x="402" y="128"/>
                    <a:pt x="401" y="228"/>
                  </a:cubicBezTo>
                  <a:cubicBezTo>
                    <a:pt x="401" y="252"/>
                    <a:pt x="396" y="276"/>
                    <a:pt x="387" y="29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0" name="Google Shape;1010;p103"/>
            <p:cNvSpPr/>
            <p:nvPr/>
          </p:nvSpPr>
          <p:spPr>
            <a:xfrm>
              <a:off x="5761038" y="2597150"/>
              <a:ext cx="663575" cy="663575"/>
            </a:xfrm>
            <a:custGeom>
              <a:avLst/>
              <a:gdLst/>
              <a:ahLst/>
              <a:cxnLst/>
              <a:rect l="l" t="t" r="r" b="b"/>
              <a:pathLst>
                <a:path w="177" h="177" extrusionOk="0">
                  <a:moveTo>
                    <a:pt x="88" y="0"/>
                  </a:moveTo>
                  <a:cubicBezTo>
                    <a:pt x="39" y="0"/>
                    <a:pt x="0" y="40"/>
                    <a:pt x="0" y="88"/>
                  </a:cubicBezTo>
                  <a:cubicBezTo>
                    <a:pt x="0" y="137"/>
                    <a:pt x="39" y="177"/>
                    <a:pt x="88" y="177"/>
                  </a:cubicBezTo>
                  <a:cubicBezTo>
                    <a:pt x="137" y="177"/>
                    <a:pt x="177" y="137"/>
                    <a:pt x="177" y="88"/>
                  </a:cubicBezTo>
                  <a:cubicBezTo>
                    <a:pt x="177" y="40"/>
                    <a:pt x="137" y="0"/>
                    <a:pt x="88" y="0"/>
                  </a:cubicBezTo>
                  <a:close/>
                  <a:moveTo>
                    <a:pt x="88" y="133"/>
                  </a:moveTo>
                  <a:cubicBezTo>
                    <a:pt x="64" y="133"/>
                    <a:pt x="44" y="113"/>
                    <a:pt x="44" y="88"/>
                  </a:cubicBezTo>
                  <a:cubicBezTo>
                    <a:pt x="44" y="64"/>
                    <a:pt x="64" y="44"/>
                    <a:pt x="88" y="44"/>
                  </a:cubicBezTo>
                  <a:cubicBezTo>
                    <a:pt x="113" y="44"/>
                    <a:pt x="133" y="64"/>
                    <a:pt x="133" y="88"/>
                  </a:cubicBezTo>
                  <a:cubicBezTo>
                    <a:pt x="133" y="113"/>
                    <a:pt x="113" y="133"/>
                    <a:pt x="88" y="13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11" name="Google Shape;1011;p103"/>
          <p:cNvGrpSpPr/>
          <p:nvPr/>
        </p:nvGrpSpPr>
        <p:grpSpPr>
          <a:xfrm>
            <a:off x="5799602" y="3821906"/>
            <a:ext cx="320212" cy="342900"/>
            <a:chOff x="5108575" y="2371725"/>
            <a:chExt cx="1971675" cy="2111376"/>
          </a:xfrm>
        </p:grpSpPr>
        <p:sp>
          <p:nvSpPr>
            <p:cNvPr id="1012" name="Google Shape;1012;p103"/>
            <p:cNvSpPr/>
            <p:nvPr/>
          </p:nvSpPr>
          <p:spPr>
            <a:xfrm>
              <a:off x="5108575" y="2371725"/>
              <a:ext cx="1971675" cy="1971675"/>
            </a:xfrm>
            <a:custGeom>
              <a:avLst/>
              <a:gdLst/>
              <a:ahLst/>
              <a:cxnLst/>
              <a:rect l="l" t="t" r="r" b="b"/>
              <a:pathLst>
                <a:path w="526" h="526" extrusionOk="0">
                  <a:moveTo>
                    <a:pt x="525" y="350"/>
                  </a:moveTo>
                  <a:cubicBezTo>
                    <a:pt x="489" y="259"/>
                    <a:pt x="489" y="259"/>
                    <a:pt x="489" y="259"/>
                  </a:cubicBezTo>
                  <a:cubicBezTo>
                    <a:pt x="489" y="244"/>
                    <a:pt x="489" y="244"/>
                    <a:pt x="489" y="244"/>
                  </a:cubicBezTo>
                  <a:cubicBezTo>
                    <a:pt x="489" y="109"/>
                    <a:pt x="379" y="0"/>
                    <a:pt x="245" y="0"/>
                  </a:cubicBezTo>
                  <a:cubicBezTo>
                    <a:pt x="110" y="0"/>
                    <a:pt x="0" y="109"/>
                    <a:pt x="0" y="244"/>
                  </a:cubicBezTo>
                  <a:cubicBezTo>
                    <a:pt x="0" y="314"/>
                    <a:pt x="19" y="365"/>
                    <a:pt x="62" y="408"/>
                  </a:cubicBezTo>
                  <a:cubicBezTo>
                    <a:pt x="81" y="427"/>
                    <a:pt x="81" y="427"/>
                    <a:pt x="81" y="427"/>
                  </a:cubicBezTo>
                  <a:cubicBezTo>
                    <a:pt x="108" y="400"/>
                    <a:pt x="108" y="400"/>
                    <a:pt x="108" y="400"/>
                  </a:cubicBezTo>
                  <a:cubicBezTo>
                    <a:pt x="89" y="381"/>
                    <a:pt x="89" y="381"/>
                    <a:pt x="89" y="381"/>
                  </a:cubicBezTo>
                  <a:cubicBezTo>
                    <a:pt x="53" y="346"/>
                    <a:pt x="38" y="304"/>
                    <a:pt x="38" y="244"/>
                  </a:cubicBezTo>
                  <a:cubicBezTo>
                    <a:pt x="38" y="130"/>
                    <a:pt x="131" y="38"/>
                    <a:pt x="245" y="38"/>
                  </a:cubicBezTo>
                  <a:cubicBezTo>
                    <a:pt x="359" y="38"/>
                    <a:pt x="451" y="130"/>
                    <a:pt x="451" y="244"/>
                  </a:cubicBezTo>
                  <a:cubicBezTo>
                    <a:pt x="451" y="263"/>
                    <a:pt x="451" y="263"/>
                    <a:pt x="451" y="263"/>
                  </a:cubicBezTo>
                  <a:cubicBezTo>
                    <a:pt x="451" y="265"/>
                    <a:pt x="451" y="268"/>
                    <a:pt x="452" y="270"/>
                  </a:cubicBezTo>
                  <a:cubicBezTo>
                    <a:pt x="480" y="338"/>
                    <a:pt x="480" y="338"/>
                    <a:pt x="480" y="338"/>
                  </a:cubicBezTo>
                  <a:cubicBezTo>
                    <a:pt x="432" y="338"/>
                    <a:pt x="432" y="338"/>
                    <a:pt x="432" y="338"/>
                  </a:cubicBezTo>
                  <a:cubicBezTo>
                    <a:pt x="432" y="470"/>
                    <a:pt x="432" y="470"/>
                    <a:pt x="432" y="470"/>
                  </a:cubicBezTo>
                  <a:cubicBezTo>
                    <a:pt x="432" y="480"/>
                    <a:pt x="424" y="488"/>
                    <a:pt x="414" y="488"/>
                  </a:cubicBezTo>
                  <a:cubicBezTo>
                    <a:pt x="376" y="488"/>
                    <a:pt x="376" y="488"/>
                    <a:pt x="376" y="488"/>
                  </a:cubicBezTo>
                  <a:cubicBezTo>
                    <a:pt x="376" y="526"/>
                    <a:pt x="376" y="526"/>
                    <a:pt x="376" y="526"/>
                  </a:cubicBezTo>
                  <a:cubicBezTo>
                    <a:pt x="414" y="526"/>
                    <a:pt x="414" y="526"/>
                    <a:pt x="414" y="526"/>
                  </a:cubicBezTo>
                  <a:cubicBezTo>
                    <a:pt x="445" y="526"/>
                    <a:pt x="470" y="501"/>
                    <a:pt x="470" y="470"/>
                  </a:cubicBezTo>
                  <a:cubicBezTo>
                    <a:pt x="470" y="376"/>
                    <a:pt x="470" y="376"/>
                    <a:pt x="470" y="376"/>
                  </a:cubicBezTo>
                  <a:cubicBezTo>
                    <a:pt x="507" y="376"/>
                    <a:pt x="507" y="376"/>
                    <a:pt x="507" y="376"/>
                  </a:cubicBezTo>
                  <a:cubicBezTo>
                    <a:pt x="518" y="376"/>
                    <a:pt x="526" y="367"/>
                    <a:pt x="526" y="357"/>
                  </a:cubicBezTo>
                  <a:cubicBezTo>
                    <a:pt x="526" y="354"/>
                    <a:pt x="526" y="352"/>
                    <a:pt x="525" y="35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3" name="Google Shape;1013;p103"/>
            <p:cNvSpPr/>
            <p:nvPr/>
          </p:nvSpPr>
          <p:spPr>
            <a:xfrm>
              <a:off x="5394325" y="2652713"/>
              <a:ext cx="700088" cy="1830388"/>
            </a:xfrm>
            <a:custGeom>
              <a:avLst/>
              <a:gdLst/>
              <a:ahLst/>
              <a:cxnLst/>
              <a:rect l="l" t="t" r="r" b="b"/>
              <a:pathLst>
                <a:path w="187" h="488" extrusionOk="0">
                  <a:moveTo>
                    <a:pt x="112" y="319"/>
                  </a:moveTo>
                  <a:cubicBezTo>
                    <a:pt x="112" y="302"/>
                    <a:pt x="104" y="285"/>
                    <a:pt x="90" y="275"/>
                  </a:cubicBezTo>
                  <a:cubicBezTo>
                    <a:pt x="56" y="250"/>
                    <a:pt x="37" y="211"/>
                    <a:pt x="37" y="169"/>
                  </a:cubicBezTo>
                  <a:cubicBezTo>
                    <a:pt x="37" y="104"/>
                    <a:pt x="85" y="48"/>
                    <a:pt x="150" y="39"/>
                  </a:cubicBezTo>
                  <a:cubicBezTo>
                    <a:pt x="150" y="113"/>
                    <a:pt x="150" y="113"/>
                    <a:pt x="150" y="113"/>
                  </a:cubicBezTo>
                  <a:cubicBezTo>
                    <a:pt x="187" y="113"/>
                    <a:pt x="187" y="113"/>
                    <a:pt x="187" y="113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75" y="0"/>
                    <a:pt x="0" y="76"/>
                    <a:pt x="0" y="169"/>
                  </a:cubicBezTo>
                  <a:cubicBezTo>
                    <a:pt x="0" y="222"/>
                    <a:pt x="25" y="273"/>
                    <a:pt x="67" y="305"/>
                  </a:cubicBezTo>
                  <a:cubicBezTo>
                    <a:pt x="72" y="308"/>
                    <a:pt x="75" y="314"/>
                    <a:pt x="75" y="319"/>
                  </a:cubicBezTo>
                  <a:cubicBezTo>
                    <a:pt x="75" y="376"/>
                    <a:pt x="75" y="376"/>
                    <a:pt x="75" y="376"/>
                  </a:cubicBezTo>
                  <a:cubicBezTo>
                    <a:pt x="37" y="376"/>
                    <a:pt x="37" y="376"/>
                    <a:pt x="37" y="376"/>
                  </a:cubicBezTo>
                  <a:cubicBezTo>
                    <a:pt x="37" y="432"/>
                    <a:pt x="37" y="432"/>
                    <a:pt x="37" y="432"/>
                  </a:cubicBezTo>
                  <a:cubicBezTo>
                    <a:pt x="37" y="463"/>
                    <a:pt x="62" y="488"/>
                    <a:pt x="93" y="488"/>
                  </a:cubicBezTo>
                  <a:cubicBezTo>
                    <a:pt x="125" y="488"/>
                    <a:pt x="150" y="463"/>
                    <a:pt x="150" y="432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12" y="376"/>
                    <a:pt x="112" y="376"/>
                    <a:pt x="112" y="376"/>
                  </a:cubicBezTo>
                  <a:lnTo>
                    <a:pt x="112" y="319"/>
                  </a:lnTo>
                  <a:close/>
                  <a:moveTo>
                    <a:pt x="112" y="432"/>
                  </a:moveTo>
                  <a:cubicBezTo>
                    <a:pt x="112" y="442"/>
                    <a:pt x="104" y="451"/>
                    <a:pt x="93" y="451"/>
                  </a:cubicBezTo>
                  <a:cubicBezTo>
                    <a:pt x="83" y="451"/>
                    <a:pt x="75" y="442"/>
                    <a:pt x="75" y="432"/>
                  </a:cubicBezTo>
                  <a:cubicBezTo>
                    <a:pt x="75" y="413"/>
                    <a:pt x="75" y="413"/>
                    <a:pt x="75" y="413"/>
                  </a:cubicBezTo>
                  <a:cubicBezTo>
                    <a:pt x="112" y="413"/>
                    <a:pt x="112" y="413"/>
                    <a:pt x="112" y="413"/>
                  </a:cubicBezTo>
                  <a:lnTo>
                    <a:pt x="112" y="43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4" name="Google Shape;1014;p103"/>
            <p:cNvSpPr/>
            <p:nvPr/>
          </p:nvSpPr>
          <p:spPr>
            <a:xfrm>
              <a:off x="5813425" y="2724150"/>
              <a:ext cx="847725" cy="844550"/>
            </a:xfrm>
            <a:custGeom>
              <a:avLst/>
              <a:gdLst/>
              <a:ahLst/>
              <a:cxnLst/>
              <a:rect l="l" t="t" r="r" b="b"/>
              <a:pathLst>
                <a:path w="226" h="225" extrusionOk="0">
                  <a:moveTo>
                    <a:pt x="226" y="113"/>
                  </a:moveTo>
                  <a:cubicBezTo>
                    <a:pt x="226" y="82"/>
                    <a:pt x="200" y="56"/>
                    <a:pt x="169" y="56"/>
                  </a:cubicBezTo>
                  <a:cubicBezTo>
                    <a:pt x="169" y="25"/>
                    <a:pt x="144" y="0"/>
                    <a:pt x="113" y="0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23" y="38"/>
                    <a:pt x="132" y="46"/>
                    <a:pt x="132" y="56"/>
                  </a:cubicBezTo>
                  <a:cubicBezTo>
                    <a:pt x="132" y="77"/>
                    <a:pt x="148" y="94"/>
                    <a:pt x="169" y="94"/>
                  </a:cubicBezTo>
                  <a:cubicBezTo>
                    <a:pt x="180" y="94"/>
                    <a:pt x="188" y="102"/>
                    <a:pt x="188" y="113"/>
                  </a:cubicBezTo>
                  <a:cubicBezTo>
                    <a:pt x="188" y="123"/>
                    <a:pt x="180" y="131"/>
                    <a:pt x="169" y="131"/>
                  </a:cubicBezTo>
                  <a:cubicBezTo>
                    <a:pt x="148" y="131"/>
                    <a:pt x="132" y="148"/>
                    <a:pt x="132" y="169"/>
                  </a:cubicBezTo>
                  <a:cubicBezTo>
                    <a:pt x="132" y="179"/>
                    <a:pt x="123" y="188"/>
                    <a:pt x="113" y="188"/>
                  </a:cubicBezTo>
                  <a:cubicBezTo>
                    <a:pt x="103" y="188"/>
                    <a:pt x="94" y="179"/>
                    <a:pt x="94" y="169"/>
                  </a:cubicBezTo>
                  <a:cubicBezTo>
                    <a:pt x="94" y="148"/>
                    <a:pt x="77" y="131"/>
                    <a:pt x="57" y="131"/>
                  </a:cubicBezTo>
                  <a:cubicBezTo>
                    <a:pt x="36" y="131"/>
                    <a:pt x="19" y="148"/>
                    <a:pt x="19" y="169"/>
                  </a:cubicBezTo>
                  <a:cubicBezTo>
                    <a:pt x="19" y="179"/>
                    <a:pt x="11" y="188"/>
                    <a:pt x="0" y="188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31" y="225"/>
                    <a:pt x="57" y="200"/>
                    <a:pt x="57" y="169"/>
                  </a:cubicBezTo>
                  <a:cubicBezTo>
                    <a:pt x="57" y="200"/>
                    <a:pt x="82" y="225"/>
                    <a:pt x="113" y="225"/>
                  </a:cubicBezTo>
                  <a:cubicBezTo>
                    <a:pt x="144" y="225"/>
                    <a:pt x="169" y="200"/>
                    <a:pt x="169" y="169"/>
                  </a:cubicBezTo>
                  <a:cubicBezTo>
                    <a:pt x="200" y="169"/>
                    <a:pt x="226" y="144"/>
                    <a:pt x="226" y="11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endParaRPr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Google Shape;989;p103">
            <a:extLst>
              <a:ext uri="{FF2B5EF4-FFF2-40B4-BE49-F238E27FC236}">
                <a16:creationId xmlns:a16="http://schemas.microsoft.com/office/drawing/2014/main" id="{80AB7178-26A0-181A-37A5-343B9350BDBE}"/>
              </a:ext>
            </a:extLst>
          </p:cNvPr>
          <p:cNvSpPr txBox="1">
            <a:spLocks/>
          </p:cNvSpPr>
          <p:nvPr/>
        </p:nvSpPr>
        <p:spPr>
          <a:xfrm>
            <a:off x="292718" y="1970515"/>
            <a:ext cx="1672268" cy="1373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/>
              <a:t>OHDSI </a:t>
            </a:r>
            <a:r>
              <a:rPr lang="en-US" sz="1050"/>
              <a:t>(Observational Health Data Sciences and Informatics)</a:t>
            </a:r>
            <a:endParaRPr lang="en-US" sz="24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91" y="670"/>
            <a:ext cx="9141619" cy="5142161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1">
              <a:buClrTx/>
            </a:pPr>
            <a:endParaRPr lang="en-US" sz="1799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92" y="670"/>
            <a:ext cx="9141618" cy="1181658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1">
              <a:buClrTx/>
            </a:pPr>
            <a:endParaRPr lang="en-US" sz="1799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6096245" y="671"/>
            <a:ext cx="3046565" cy="1182001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1">
              <a:buClrTx/>
            </a:pPr>
            <a:endParaRPr lang="en-US" sz="1799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80987" y="-3979128"/>
            <a:ext cx="1182027" cy="9141621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1">
              <a:buClrTx/>
            </a:pPr>
            <a:endParaRPr lang="en-US" sz="1799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40EA2E-0A60-E762-F885-831BA63DA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107" y="329468"/>
            <a:ext cx="7531056" cy="658126"/>
          </a:xfrm>
        </p:spPr>
        <p:txBody>
          <a:bodyPr spcFirstLastPara="1" vert="horz" wrap="square" lIns="91416" tIns="45708" rIns="91416" bIns="45708" rtlCol="0" anchor="ctr" anchorCtr="0">
            <a:normAutofit/>
          </a:bodyPr>
          <a:lstStyle/>
          <a:p>
            <a:pPr defTabSz="914171">
              <a:spcBef>
                <a:spcPct val="0"/>
              </a:spcBef>
            </a:pPr>
            <a:r>
              <a:rPr lang="en-US" sz="2950" b="1">
                <a:solidFill>
                  <a:srgbClr val="FFFFFF"/>
                </a:solidFill>
                <a:latin typeface="Arial"/>
                <a:cs typeface="Arial"/>
              </a:rPr>
              <a:t>Overview of Reference Table</a:t>
            </a:r>
          </a:p>
        </p:txBody>
      </p:sp>
      <p:graphicFrame>
        <p:nvGraphicFramePr>
          <p:cNvPr id="5" name="Text Placeholder 2">
            <a:extLst>
              <a:ext uri="{FF2B5EF4-FFF2-40B4-BE49-F238E27FC236}">
                <a16:creationId xmlns:a16="http://schemas.microsoft.com/office/drawing/2014/main" id="{DDBA15B0-986A-B1A6-C81B-D84AFB6C80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6070355"/>
              </p:ext>
            </p:extLst>
          </p:nvPr>
        </p:nvGraphicFramePr>
        <p:xfrm>
          <a:off x="484108" y="1182328"/>
          <a:ext cx="8193737" cy="38596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87871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623A835C-B2CF-0B9E-5571-A7E3C762A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Conversion Proc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D2A4EC-7046-78A8-AA40-F89BB4034F89}"/>
              </a:ext>
            </a:extLst>
          </p:cNvPr>
          <p:cNvSpPr/>
          <p:nvPr/>
        </p:nvSpPr>
        <p:spPr>
          <a:xfrm>
            <a:off x="1952766" y="1467400"/>
            <a:ext cx="1078637" cy="239282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CUI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636C3F3-4F41-36B9-FF62-0C1C1680F52C}"/>
              </a:ext>
            </a:extLst>
          </p:cNvPr>
          <p:cNvSpPr/>
          <p:nvPr/>
        </p:nvSpPr>
        <p:spPr>
          <a:xfrm>
            <a:off x="490556" y="1467401"/>
            <a:ext cx="1131903" cy="383321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/>
              <a:t>ICD-10-CM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B31134A-A2BE-E3E3-0FF7-552D793D4801}"/>
              </a:ext>
            </a:extLst>
          </p:cNvPr>
          <p:cNvCxnSpPr>
            <a:cxnSpLocks/>
          </p:cNvCxnSpPr>
          <p:nvPr/>
        </p:nvCxnSpPr>
        <p:spPr>
          <a:xfrm>
            <a:off x="1629466" y="1715613"/>
            <a:ext cx="299621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AF27A39B-EA61-CA3F-382B-C381651B8B46}"/>
              </a:ext>
            </a:extLst>
          </p:cNvPr>
          <p:cNvSpPr/>
          <p:nvPr/>
        </p:nvSpPr>
        <p:spPr>
          <a:xfrm>
            <a:off x="491941" y="1949587"/>
            <a:ext cx="1131903" cy="383321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/>
              <a:t>ICD-10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4F9512B-ACA3-B0CF-4391-62C32DEF6871}"/>
              </a:ext>
            </a:extLst>
          </p:cNvPr>
          <p:cNvCxnSpPr>
            <a:cxnSpLocks/>
          </p:cNvCxnSpPr>
          <p:nvPr/>
        </p:nvCxnSpPr>
        <p:spPr>
          <a:xfrm>
            <a:off x="1629466" y="2200241"/>
            <a:ext cx="299621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FD65400-CFEA-DA5E-5D60-B205FBE3EED6}"/>
              </a:ext>
            </a:extLst>
          </p:cNvPr>
          <p:cNvSpPr/>
          <p:nvPr/>
        </p:nvSpPr>
        <p:spPr>
          <a:xfrm>
            <a:off x="491941" y="2463157"/>
            <a:ext cx="1131903" cy="383321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/>
              <a:t>ICD-9-CM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EC0D89A-2846-556E-B9AB-22FFCFA09BA2}"/>
              </a:ext>
            </a:extLst>
          </p:cNvPr>
          <p:cNvSpPr/>
          <p:nvPr/>
        </p:nvSpPr>
        <p:spPr>
          <a:xfrm>
            <a:off x="491941" y="2959564"/>
            <a:ext cx="1131903" cy="383321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/>
              <a:t>ICD-9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CB2FCDE-7ED8-454C-368E-099C5F06378C}"/>
              </a:ext>
            </a:extLst>
          </p:cNvPr>
          <p:cNvSpPr/>
          <p:nvPr/>
        </p:nvSpPr>
        <p:spPr>
          <a:xfrm>
            <a:off x="491941" y="3476905"/>
            <a:ext cx="1131903" cy="383321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SNOMED CT</a:t>
            </a: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650592E3-2FD7-17ED-2CBD-1C547E054465}"/>
              </a:ext>
            </a:extLst>
          </p:cNvPr>
          <p:cNvSpPr/>
          <p:nvPr/>
        </p:nvSpPr>
        <p:spPr>
          <a:xfrm>
            <a:off x="3087388" y="2539615"/>
            <a:ext cx="323689" cy="306863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082EF2B-6864-B46F-32F2-35C562244E29}"/>
              </a:ext>
            </a:extLst>
          </p:cNvPr>
          <p:cNvSpPr txBox="1"/>
          <p:nvPr/>
        </p:nvSpPr>
        <p:spPr>
          <a:xfrm>
            <a:off x="5147970" y="1676279"/>
            <a:ext cx="2079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Reference tabl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95051F1-039B-6771-605F-1E37F0D6AFCF}"/>
              </a:ext>
            </a:extLst>
          </p:cNvPr>
          <p:cNvSpPr txBox="1"/>
          <p:nvPr/>
        </p:nvSpPr>
        <p:spPr>
          <a:xfrm>
            <a:off x="4927201" y="3342885"/>
            <a:ext cx="261154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/>
              <a:t>Utilize queries for data retrieval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B8D2E28-B7C5-F455-A5C8-E3E2C87ACEB3}"/>
              </a:ext>
            </a:extLst>
          </p:cNvPr>
          <p:cNvCxnSpPr>
            <a:cxnSpLocks/>
          </p:cNvCxnSpPr>
          <p:nvPr/>
        </p:nvCxnSpPr>
        <p:spPr>
          <a:xfrm>
            <a:off x="1629466" y="2661236"/>
            <a:ext cx="299621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FA0B5EF4-9589-51DE-42A3-A1B6CA283752}"/>
              </a:ext>
            </a:extLst>
          </p:cNvPr>
          <p:cNvCxnSpPr>
            <a:cxnSpLocks/>
          </p:cNvCxnSpPr>
          <p:nvPr/>
        </p:nvCxnSpPr>
        <p:spPr>
          <a:xfrm>
            <a:off x="1629466" y="3151224"/>
            <a:ext cx="299621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F16631D1-FB8C-ED88-819C-46A0C090BE50}"/>
              </a:ext>
            </a:extLst>
          </p:cNvPr>
          <p:cNvCxnSpPr>
            <a:cxnSpLocks/>
          </p:cNvCxnSpPr>
          <p:nvPr/>
        </p:nvCxnSpPr>
        <p:spPr>
          <a:xfrm>
            <a:off x="1629466" y="3668565"/>
            <a:ext cx="299621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id="{8C7E75B0-946E-495C-C418-0F2CDE6016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1076" y="2152478"/>
            <a:ext cx="5643794" cy="1081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293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37567-2FAE-754F-AB3B-696C481D4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Querying the Reference Tab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20A795-D66F-E6E1-7A94-91AB08D443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earch based on the Description column:</a:t>
            </a:r>
          </a:p>
          <a:p>
            <a:pPr lvl="1"/>
            <a:r>
              <a:rPr lang="en-US"/>
              <a:t>Identify a keyword, e.g., ‘Hypertrophic’</a:t>
            </a:r>
          </a:p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029DEF-6F3F-BEBB-7DCA-ED00C251B5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101" y="2859532"/>
            <a:ext cx="3992903" cy="21131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450A54A-0E4A-A507-F0D2-691588EAAF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3004" y="2859533"/>
            <a:ext cx="4877481" cy="211316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F2B584A-7725-3139-183E-CD999148A7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60632" y="2329456"/>
            <a:ext cx="3664744" cy="442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84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5.0.3313"/>
  <p:tag name="SLIDO_PRESENTATION_ID" val="00000000-0000-0000-0000-000000000000"/>
  <p:tag name="SLIDO_EVENT_UUID" val="e2e13f1d-023b-4362-b343-a9f2161f5761"/>
  <p:tag name="SLIDO_EVENT_SECTION_UUID" val="f189c8c3-c409-498b-a448-9b13088b814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lainwQImkEpJ4yF2Bc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Cs7KHeRwSw398xUC7AlA"/>
</p:tagLst>
</file>

<file path=ppt/theme/theme1.xml><?xml version="1.0" encoding="utf-8"?>
<a:theme xmlns:a="http://schemas.openxmlformats.org/drawingml/2006/main" name="1_Mayo Clinic Template (White)">
  <a:themeElements>
    <a:clrScheme name="MC_White_Borders">
      <a:dk1>
        <a:srgbClr val="FFFFFF"/>
      </a:dk1>
      <a:lt1>
        <a:srgbClr val="000000"/>
      </a:lt1>
      <a:dk2>
        <a:srgbClr val="D2D2D2"/>
      </a:dk2>
      <a:lt2>
        <a:srgbClr val="0057B8"/>
      </a:lt2>
      <a:accent1>
        <a:srgbClr val="009CDE"/>
      </a:accent1>
      <a:accent2>
        <a:srgbClr val="0057B8"/>
      </a:accent2>
      <a:accent3>
        <a:srgbClr val="00873E"/>
      </a:accent3>
      <a:accent4>
        <a:srgbClr val="8246AF"/>
      </a:accent4>
      <a:accent5>
        <a:srgbClr val="FE5000"/>
      </a:accent5>
      <a:accent6>
        <a:srgbClr val="FFC845"/>
      </a:accent6>
      <a:hlink>
        <a:srgbClr val="009CDE"/>
      </a:hlink>
      <a:folHlink>
        <a:srgbClr val="A8A8A8"/>
      </a:folHlink>
    </a:clrScheme>
    <a:fontScheme name="mc-white-widescre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c-white-widescreen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ustom Design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ayoClinicCareNetwork">
  <a:themeElements>
    <a:clrScheme name="2020_MC_White_Blue_Icons">
      <a:dk1>
        <a:srgbClr val="FFFFFF"/>
      </a:dk1>
      <a:lt1>
        <a:srgbClr val="000000"/>
      </a:lt1>
      <a:dk2>
        <a:srgbClr val="D2D2D2"/>
      </a:dk2>
      <a:lt2>
        <a:srgbClr val="0057B8"/>
      </a:lt2>
      <a:accent1>
        <a:srgbClr val="0057B8"/>
      </a:accent1>
      <a:accent2>
        <a:srgbClr val="009CDE"/>
      </a:accent2>
      <a:accent3>
        <a:srgbClr val="00873E"/>
      </a:accent3>
      <a:accent4>
        <a:srgbClr val="8246AF"/>
      </a:accent4>
      <a:accent5>
        <a:srgbClr val="FE5000"/>
      </a:accent5>
      <a:accent6>
        <a:srgbClr val="FFC845"/>
      </a:accent6>
      <a:hlink>
        <a:srgbClr val="0057B8"/>
      </a:hlink>
      <a:folHlink>
        <a:srgbClr val="A8A8A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1,"isValidatorEnabled":false,"isLocked":false,"elementsMetadata":[],"slideId":"637853089657634939","enableDocumentContentUpdater":false,"version":"2.0"}]]></TemplafySlideTemplateConfiguration>
</file>

<file path=customXml/item10.xml><?xml version="1.0" encoding="utf-8"?>
<TemplafySlideTemplateConfiguration><![CDATA[{"slideVersion":1,"isValidatorEnabled":false,"isLocked":false,"elementsMetadata":[],"slideId":"637871795129153936","enableDocumentContentUpdater":false,"version":"2.0"}]]></TemplafySlideTemplateConfiguration>
</file>

<file path=customXml/item11.xml><?xml version="1.0" encoding="utf-8"?>
<TemplafySlideTemplateConfiguration><![CDATA[{"slideVersion":1,"isValidatorEnabled":false,"isLocked":false,"elementsMetadata":[],"slideId":"637871795129153936","enableDocumentContentUpdater":false,"version":"2.0"}]]></TemplafySlideTemplateConfiguration>
</file>

<file path=customXml/item12.xml><?xml version="1.0" encoding="utf-8"?>
<TemplafySlideTemplateConfiguration><![CDATA[{"slideVersion":1,"isValidatorEnabled":false,"isLocked":false,"elementsMetadata":[],"slideId":"637853089657634939","enableDocumentContentUpdater":false,"version":"2.0"}]]></TemplafySlide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TemplateConfiguration><![CDATA[{"slideVersion":1,"isValidatorEnabled":false,"isLocked":false,"elementsMetadata":[],"slideId":"637768496904187227","enableDocumentContentUpdater":fals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1,"isValidatorEnabled":false,"isLocked":false,"elementsMetadata":[],"slideId":"637768496904526422","enableDocumentContentUpdater":false,"version":"2.0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5169b7e-6bcc-423e-971e-ba6cbb174d79">
      <UserInfo>
        <DisplayName>SharingLinks.0ee6266f-1785-41a2-8bf7-0d0a416498ce.Flexible.f40aff01-5e8a-4c29-8fd9-36070325d164</DisplayName>
        <AccountId>528</AccountId>
        <AccountType/>
      </UserInfo>
      <UserInfo>
        <DisplayName>Wahner Hendrickson, Andrea E., M.D.</DisplayName>
        <AccountId>910</AccountId>
        <AccountType/>
      </UserInfo>
      <UserInfo>
        <DisplayName>Limited Access System Group For List 811c2f63-8bc3-40f1-8ded-6d2394de55ce</DisplayName>
        <AccountId>404</AccountId>
        <AccountType/>
      </UserInfo>
      <UserInfo>
        <DisplayName>SharingLinks.c64b6fcf-f778-4529-ae6c-d07ba6450303.OrganizationEdit.4fafbe91-d011-4784-b254-f2a3b3ed4226</DisplayName>
        <AccountId>180</AccountId>
        <AccountType/>
      </UserInfo>
      <UserInfo>
        <DisplayName>Weller- Taylor, Kari L., M.B.A.</DisplayName>
        <AccountId>31</AccountId>
        <AccountType/>
      </UserInfo>
      <UserInfo>
        <DisplayName>Goyal, Maneesh</DisplayName>
        <AccountId>58</AccountId>
        <AccountType/>
      </UserInfo>
      <UserInfo>
        <DisplayName>Thoe, Lisa J., M.S., R.N.</DisplayName>
        <AccountId>700</AccountId>
        <AccountType/>
      </UserInfo>
      <UserInfo>
        <DisplayName>Kiker, Kelly M., M.S.N., R.N.</DisplayName>
        <AccountId>204</AccountId>
        <AccountType/>
      </UserInfo>
    </SharedWithUsers>
    <TaxCatchAll xmlns="65169b7e-6bcc-423e-971e-ba6cbb174d79" xsi:nil="true"/>
    <lcf76f155ced4ddcb4097134ff3c332f xmlns="755bba6c-762c-4452-80cd-f0676638ae67">
      <Terms xmlns="http://schemas.microsoft.com/office/infopath/2007/PartnerControls"/>
    </lcf76f155ced4ddcb4097134ff3c332f>
  </documentManagement>
</p:properties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TemplateConfiguration><![CDATA[{"slideVersion":1,"isValidatorEnabled":false,"isLocked":false,"elementsMetadata":[],"slideId":"637871795129153936","enableDocumentContentUpdater":false,"version":"2.0"}]]></TemplafySlideTemplate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TemplateConfiguration><![CDATA[{"slideVersion":1,"isValidatorEnabled":false,"isLocked":false,"elementsMetadata":[],"slideId":"637871795129153936","enableDocumentContentUpdater":false,"version":"2.0"}]]></TemplafySlideTemplateConfiguration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B66BCD36FF4D478D2170BB9F0A4159" ma:contentTypeVersion="13" ma:contentTypeDescription="Create a new document." ma:contentTypeScope="" ma:versionID="40adade5d3d2c4113f206aa9d4c5a951">
  <xsd:schema xmlns:xsd="http://www.w3.org/2001/XMLSchema" xmlns:xs="http://www.w3.org/2001/XMLSchema" xmlns:p="http://schemas.microsoft.com/office/2006/metadata/properties" xmlns:ns2="755bba6c-762c-4452-80cd-f0676638ae67" xmlns:ns3="65169b7e-6bcc-423e-971e-ba6cbb174d79" targetNamespace="http://schemas.microsoft.com/office/2006/metadata/properties" ma:root="true" ma:fieldsID="46eb42420efb7a17373944bc1226a7cb" ns2:_="" ns3:_="">
    <xsd:import namespace="755bba6c-762c-4452-80cd-f0676638ae67"/>
    <xsd:import namespace="65169b7e-6bcc-423e-971e-ba6cbb174d7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5bba6c-762c-4452-80cd-f0676638ae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c5d3906-26d2-4840-9c74-966ccfe297a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169b7e-6bcc-423e-971e-ba6cbb174d7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34e78e05-4396-4a90-862f-e28bbb7dc40d}" ma:internalName="TaxCatchAll" ma:showField="CatchAllData" ma:web="65169b7e-6bcc-423e-971e-ba6cbb174d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TemplateConfiguration><![CDATA[{"slideVersion":1,"isValidatorEnabled":false,"isLocked":false,"elementsMetadata":[],"slideId":"637853089657636252","enableDocumentContentUpdater":false,"version":"2.0"}]]></TemplafySlideTemplateConfiguration>
</file>

<file path=customXml/item29.xml><?xml version="1.0" encoding="utf-8"?>
<TemplafySlideTemplateConfiguration><![CDATA[{"slideVersion":1,"isValidatorEnabled":false,"isLocked":false,"elementsMetadata":[],"slideId":"637768496904187227","enableDocumentContentUpdater":false,"version":"2.0"}]]></TemplafySlideTemplateConfiguration>
</file>

<file path=customXml/item3.xml><?xml version="1.0" encoding="utf-8"?>
<TemplafySlideTemplateConfiguration><![CDATA[{"slideVersion":1,"isValidatorEnabled":false,"isLocked":false,"elementsMetadata":[],"slideId":"637768496904187227","enableDocumentContentUpdater":false,"version":"2.0"}]]></TemplafySlideTemplateConfiguration>
</file>

<file path=customXml/item30.xml><?xml version="1.0" encoding="utf-8"?>
<TemplafySlideFormConfiguration><![CDATA[{"formFields":[],"formDataEntries":[]}]]></TemplafySlideFormConfiguration>
</file>

<file path=customXml/item31.xml><?xml version="1.0" encoding="utf-8"?>
<TemplafySlideTemplateConfiguration><![CDATA[{"slideVersion":1,"isValidatorEnabled":false,"isLocked":false,"elementsMetadata":[],"slideId":"637853089657634939","enableDocumentContentUpdater":false,"version":"2.0"}]]></TemplafySlideTemplateConfiguration>
</file>

<file path=customXml/item32.xml><?xml version="1.0" encoding="utf-8"?>
<TemplafySlideTemplateConfiguration><![CDATA[{"slideVersion":1,"isValidatorEnabled":false,"isLocked":false,"elementsMetadata":[],"slideId":"637768496904187227","enableDocumentContentUpdater":false,"version":"2.0"}]]></TemplafySlideTemplateConfiguration>
</file>

<file path=customXml/item33.xml><?xml version="1.0" encoding="utf-8"?>
<TemplafySlideTemplateConfiguration><![CDATA[{"slideVersion":1,"isValidatorEnabled":false,"isLocked":false,"elementsMetadata":[],"slideId":"637853089657634939","enableDocumentContentUpdater":false,"version":"2.0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TemplafySlideFormConfiguration><![CDATA[{"formFields":[],"formDataEntries":[]}]]></TemplafySlideFormConfiguration>
</file>

<file path=customXml/item36.xml><?xml version="1.0" encoding="utf-8"?>
<TemplafySlideFormConfiguration><![CDATA[{"formFields":[],"formDataEntries":[]}]]></TemplafySlideFormConfiguration>
</file>

<file path=customXml/item37.xml><?xml version="1.0" encoding="utf-8"?>
<TemplafySlideFormConfiguration><![CDATA[{"formFields":[],"formDataEntries":[]}]]></TemplafySlideFormConfiguration>
</file>

<file path=customXml/item38.xml><?xml version="1.0" encoding="utf-8"?>
<TemplafySlideFormConfiguration><![CDATA[{"formFields":[],"formDataEntries":[]}]]></TemplafySlideFormConfiguration>
</file>

<file path=customXml/item39.xml><?xml version="1.0" encoding="utf-8"?>
<TemplafySlideTemplateConfiguration><![CDATA[{"slideVersion":1,"isValidatorEnabled":false,"isLocked":false,"elementsMetadata":[],"slideId":"637871795129153936","enableDocumentContentUpdater":false,"version":"2.0"}]]></TemplafySlideTemplateConfiguration>
</file>

<file path=customXml/item4.xml><?xml version="1.0" encoding="utf-8"?>
<TemplafySlideTemplateConfiguration><![CDATA[{"slideVersion":1,"isValidatorEnabled":false,"isLocked":false,"elementsMetadata":[],"slideId":"637853089657634939","enableDocumentContentUpdater":false,"version":"2.0"}]]></TemplafySlideTemplateConfiguration>
</file>

<file path=customXml/item40.xml><?xml version="1.0" encoding="utf-8"?>
<TemplafySlideFormConfiguration><![CDATA[{"formFields":[],"formDataEntries":[]}]]></TemplafySlideFormConfiguration>
</file>

<file path=customXml/item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2.xml><?xml version="1.0" encoding="utf-8"?>
<TemplafySlideFormConfiguration><![CDATA[{"formFields":[],"formDataEntries":[]}]]></TemplafySlideFormConfiguration>
</file>

<file path=customXml/item43.xml><?xml version="1.0" encoding="utf-8"?>
<TemplafySlideTemplateConfiguration><![CDATA[{"slideVersion":1,"isValidatorEnabled":false,"isLocked":false,"elementsMetadata":[],"slideId":"637768496904175153","enableDocumentContentUpdater":false,"version":"2.0"}]]></TemplafySlideTemplateConfiguration>
</file>

<file path=customXml/item44.xml><?xml version="1.0" encoding="utf-8"?>
<TemplafySlideTemplateConfiguration><![CDATA[{"slideVersion":1,"isValidatorEnabled":false,"isLocked":false,"elementsMetadata":[],"slideId":"637768496904526422","enableDocumentContentUpdater":false,"version":"2.0"}]]></TemplafySlideTemplateConfiguration>
</file>

<file path=customXml/item45.xml><?xml version="1.0" encoding="utf-8"?>
<TemplafySlideFormConfiguration><![CDATA[{"formFields":[],"formDataEntries":[]}]]></TemplafySlideForm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TemplateConfiguration><![CDATA[{"slideVersion":1,"isValidatorEnabled":false,"isLocked":false,"elementsMetadata":[],"slideId":"637768499021026325","enableDocumentContentUpdater":false,"version":"2.0"}]]></TemplafySlideTemplateConfiguration>
</file>

<file path=customXml/item48.xml><?xml version="1.0" encoding="utf-8"?>
<TemplafySlideTemplateConfiguration><![CDATA[{"slideVersion":1,"isValidatorEnabled":false,"isLocked":false,"elementsMetadata":[],"slideId":"637768496904187227","enableDocumentContentUpdater":false,"version":"2.0"}]]></TemplafySlideTemplate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1,"isValidatorEnabled":false,"isLocked":false,"elementsMetadata":[],"slideId":"637768496904526422","enableDocumentContentUpdater":false,"version":"2.0"}]]></TemplafySlideTemplate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1,"isValidatorEnabled":false,"isLocked":false,"elementsMetadata":[],"slideId":"637768499021026325","enableDocumentContentUpdater":false,"version":"2.0"}]]></TemplafySlideTemplateConfiguration>
</file>

<file path=customXml/item7.xml><?xml version="1.0" encoding="utf-8"?>
<TemplafySlideTemplateConfiguration><![CDATA[{"slideVersion":1,"isValidatorEnabled":false,"isLocked":false,"elementsMetadata":[],"slideId":"637768496904187227","enableDocumentContentUpdater":false,"version":"2.0"}]]></TemplafySlideTemplateConfiguration>
</file>

<file path=customXml/item8.xml><?xml version="1.0" encoding="utf-8"?>
<TemplafySlideTemplateConfiguration><![CDATA[{"slideVersion":1,"isValidatorEnabled":false,"isLocked":false,"elementsMetadata":[],"slideId":"637768496904187227","enableDocumentContentUpdater":false,"version":"2.0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771D0EF3-EAE0-4585-9FBF-7485A737B36A}">
  <ds:schemaRefs/>
</ds:datastoreItem>
</file>

<file path=customXml/itemProps10.xml><?xml version="1.0" encoding="utf-8"?>
<ds:datastoreItem xmlns:ds="http://schemas.openxmlformats.org/officeDocument/2006/customXml" ds:itemID="{AB8DB23C-2640-4071-82E7-35C3EB16C3E1}">
  <ds:schemaRefs/>
</ds:datastoreItem>
</file>

<file path=customXml/itemProps11.xml><?xml version="1.0" encoding="utf-8"?>
<ds:datastoreItem xmlns:ds="http://schemas.openxmlformats.org/officeDocument/2006/customXml" ds:itemID="{0E4FE69A-3320-4FB2-8D1B-7D549A38A85A}">
  <ds:schemaRefs/>
</ds:datastoreItem>
</file>

<file path=customXml/itemProps12.xml><?xml version="1.0" encoding="utf-8"?>
<ds:datastoreItem xmlns:ds="http://schemas.openxmlformats.org/officeDocument/2006/customXml" ds:itemID="{11AA11B0-89E7-4A38-949D-486B3D2BFE3C}">
  <ds:schemaRefs/>
</ds:datastoreItem>
</file>

<file path=customXml/itemProps13.xml><?xml version="1.0" encoding="utf-8"?>
<ds:datastoreItem xmlns:ds="http://schemas.openxmlformats.org/officeDocument/2006/customXml" ds:itemID="{C2ACBF51-1112-41D0-B612-53D0B2E8B086}">
  <ds:schemaRefs/>
</ds:datastoreItem>
</file>

<file path=customXml/itemProps14.xml><?xml version="1.0" encoding="utf-8"?>
<ds:datastoreItem xmlns:ds="http://schemas.openxmlformats.org/officeDocument/2006/customXml" ds:itemID="{0E369CEC-9C44-46A6-8014-A94A1C70D336}">
  <ds:schemaRefs/>
</ds:datastoreItem>
</file>

<file path=customXml/itemProps15.xml><?xml version="1.0" encoding="utf-8"?>
<ds:datastoreItem xmlns:ds="http://schemas.openxmlformats.org/officeDocument/2006/customXml" ds:itemID="{D56C73BA-39B5-45E8-8832-FEA770F029CF}">
  <ds:schemaRefs/>
</ds:datastoreItem>
</file>

<file path=customXml/itemProps16.xml><?xml version="1.0" encoding="utf-8"?>
<ds:datastoreItem xmlns:ds="http://schemas.openxmlformats.org/officeDocument/2006/customXml" ds:itemID="{A185FA10-3C33-451C-8A1B-469CD80089CC}">
  <ds:schemaRefs/>
</ds:datastoreItem>
</file>

<file path=customXml/itemProps17.xml><?xml version="1.0" encoding="utf-8"?>
<ds:datastoreItem xmlns:ds="http://schemas.openxmlformats.org/officeDocument/2006/customXml" ds:itemID="{6BD35C3F-96C4-47FA-92E4-7C4C6F47EB90}">
  <ds:schemaRefs/>
</ds:datastoreItem>
</file>

<file path=customXml/itemProps18.xml><?xml version="1.0" encoding="utf-8"?>
<ds:datastoreItem xmlns:ds="http://schemas.openxmlformats.org/officeDocument/2006/customXml" ds:itemID="{9093F41B-F3A4-43D6-A105-DDE166021876}">
  <ds:schemaRefs/>
</ds:datastoreItem>
</file>

<file path=customXml/itemProps19.xml><?xml version="1.0" encoding="utf-8"?>
<ds:datastoreItem xmlns:ds="http://schemas.openxmlformats.org/officeDocument/2006/customXml" ds:itemID="{66E6FDCA-4477-442D-8624-60EDA6C4A532}">
  <ds:schemaRefs/>
</ds:datastoreItem>
</file>

<file path=customXml/itemProps2.xml><?xml version="1.0" encoding="utf-8"?>
<ds:datastoreItem xmlns:ds="http://schemas.openxmlformats.org/officeDocument/2006/customXml" ds:itemID="{1EA002EC-88B1-4E66-A804-C2B876D9A377}">
  <ds:schemaRefs>
    <ds:schemaRef ds:uri="65169b7e-6bcc-423e-971e-ba6cbb174d79"/>
    <ds:schemaRef ds:uri="755bba6c-762c-4452-80cd-f0676638ae6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.xml><?xml version="1.0" encoding="utf-8"?>
<ds:datastoreItem xmlns:ds="http://schemas.openxmlformats.org/officeDocument/2006/customXml" ds:itemID="{B354D924-DD83-48B0-A8F8-1939035E81BD}">
  <ds:schemaRefs/>
</ds:datastoreItem>
</file>

<file path=customXml/itemProps21.xml><?xml version="1.0" encoding="utf-8"?>
<ds:datastoreItem xmlns:ds="http://schemas.openxmlformats.org/officeDocument/2006/customXml" ds:itemID="{0FD5B55D-D76F-4B9E-A7B4-30F28D20CAF7}">
  <ds:schemaRefs/>
</ds:datastoreItem>
</file>

<file path=customXml/itemProps22.xml><?xml version="1.0" encoding="utf-8"?>
<ds:datastoreItem xmlns:ds="http://schemas.openxmlformats.org/officeDocument/2006/customXml" ds:itemID="{7C9392FC-AB44-418B-BC45-44808932D7B3}">
  <ds:schemaRefs/>
</ds:datastoreItem>
</file>

<file path=customXml/itemProps23.xml><?xml version="1.0" encoding="utf-8"?>
<ds:datastoreItem xmlns:ds="http://schemas.openxmlformats.org/officeDocument/2006/customXml" ds:itemID="{EE402BC0-2BAE-4C68-A64B-60B5DEA138EE}">
  <ds:schemaRefs/>
</ds:datastoreItem>
</file>

<file path=customXml/itemProps24.xml><?xml version="1.0" encoding="utf-8"?>
<ds:datastoreItem xmlns:ds="http://schemas.openxmlformats.org/officeDocument/2006/customXml" ds:itemID="{10C70251-47B8-4522-B751-1646D303FADB}">
  <ds:schemaRefs/>
</ds:datastoreItem>
</file>

<file path=customXml/itemProps25.xml><?xml version="1.0" encoding="utf-8"?>
<ds:datastoreItem xmlns:ds="http://schemas.openxmlformats.org/officeDocument/2006/customXml" ds:itemID="{32492733-5D24-471A-91A7-CF4FB59F773F}">
  <ds:schemaRefs/>
</ds:datastoreItem>
</file>

<file path=customXml/itemProps26.xml><?xml version="1.0" encoding="utf-8"?>
<ds:datastoreItem xmlns:ds="http://schemas.openxmlformats.org/officeDocument/2006/customXml" ds:itemID="{E895B26E-5386-49CE-B583-C815BE4FEF0B}">
  <ds:schemaRefs>
    <ds:schemaRef ds:uri="65169b7e-6bcc-423e-971e-ba6cbb174d79"/>
    <ds:schemaRef ds:uri="755bba6c-762c-4452-80cd-f0676638ae6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7.xml><?xml version="1.0" encoding="utf-8"?>
<ds:datastoreItem xmlns:ds="http://schemas.openxmlformats.org/officeDocument/2006/customXml" ds:itemID="{700892F8-529C-4817-8383-A650EFF2326C}">
  <ds:schemaRefs/>
</ds:datastoreItem>
</file>

<file path=customXml/itemProps28.xml><?xml version="1.0" encoding="utf-8"?>
<ds:datastoreItem xmlns:ds="http://schemas.openxmlformats.org/officeDocument/2006/customXml" ds:itemID="{707A64EF-1D95-45CB-B2D5-064EC1C7F1BA}">
  <ds:schemaRefs/>
</ds:datastoreItem>
</file>

<file path=customXml/itemProps29.xml><?xml version="1.0" encoding="utf-8"?>
<ds:datastoreItem xmlns:ds="http://schemas.openxmlformats.org/officeDocument/2006/customXml" ds:itemID="{ECECBFF7-63F7-4AF4-950F-37336E9F07FA}">
  <ds:schemaRefs/>
</ds:datastoreItem>
</file>

<file path=customXml/itemProps3.xml><?xml version="1.0" encoding="utf-8"?>
<ds:datastoreItem xmlns:ds="http://schemas.openxmlformats.org/officeDocument/2006/customXml" ds:itemID="{59A24A82-C944-4391-BDE0-AAC9B5460286}">
  <ds:schemaRefs/>
</ds:datastoreItem>
</file>

<file path=customXml/itemProps30.xml><?xml version="1.0" encoding="utf-8"?>
<ds:datastoreItem xmlns:ds="http://schemas.openxmlformats.org/officeDocument/2006/customXml" ds:itemID="{6726774D-C890-49E7-AC90-5BD2BA48F139}">
  <ds:schemaRefs/>
</ds:datastoreItem>
</file>

<file path=customXml/itemProps31.xml><?xml version="1.0" encoding="utf-8"?>
<ds:datastoreItem xmlns:ds="http://schemas.openxmlformats.org/officeDocument/2006/customXml" ds:itemID="{1297433B-974F-4A0F-B9F6-005FDE4C54E6}">
  <ds:schemaRefs/>
</ds:datastoreItem>
</file>

<file path=customXml/itemProps32.xml><?xml version="1.0" encoding="utf-8"?>
<ds:datastoreItem xmlns:ds="http://schemas.openxmlformats.org/officeDocument/2006/customXml" ds:itemID="{FEE0CD4E-8F1F-49C4-AB0A-5C6F9D3DA143}">
  <ds:schemaRefs/>
</ds:datastoreItem>
</file>

<file path=customXml/itemProps33.xml><?xml version="1.0" encoding="utf-8"?>
<ds:datastoreItem xmlns:ds="http://schemas.openxmlformats.org/officeDocument/2006/customXml" ds:itemID="{21669E73-0D82-43D0-BE02-15E1378FA47C}">
  <ds:schemaRefs/>
</ds:datastoreItem>
</file>

<file path=customXml/itemProps34.xml><?xml version="1.0" encoding="utf-8"?>
<ds:datastoreItem xmlns:ds="http://schemas.openxmlformats.org/officeDocument/2006/customXml" ds:itemID="{3CA6E7BA-5CA7-42FB-9562-EEBB53EA1AF1}">
  <ds:schemaRefs/>
</ds:datastoreItem>
</file>

<file path=customXml/itemProps35.xml><?xml version="1.0" encoding="utf-8"?>
<ds:datastoreItem xmlns:ds="http://schemas.openxmlformats.org/officeDocument/2006/customXml" ds:itemID="{B69E2480-B027-4BFD-80F6-6BD409DFD13D}">
  <ds:schemaRefs/>
</ds:datastoreItem>
</file>

<file path=customXml/itemProps36.xml><?xml version="1.0" encoding="utf-8"?>
<ds:datastoreItem xmlns:ds="http://schemas.openxmlformats.org/officeDocument/2006/customXml" ds:itemID="{BEE2467A-8C68-4F62-B67F-85381FCBC6B3}">
  <ds:schemaRefs/>
</ds:datastoreItem>
</file>

<file path=customXml/itemProps37.xml><?xml version="1.0" encoding="utf-8"?>
<ds:datastoreItem xmlns:ds="http://schemas.openxmlformats.org/officeDocument/2006/customXml" ds:itemID="{FEDEB854-5CA5-4928-A9D6-35BA1DB341AA}">
  <ds:schemaRefs/>
</ds:datastoreItem>
</file>

<file path=customXml/itemProps38.xml><?xml version="1.0" encoding="utf-8"?>
<ds:datastoreItem xmlns:ds="http://schemas.openxmlformats.org/officeDocument/2006/customXml" ds:itemID="{F1965A64-53E0-4520-B4AF-48264D2828B1}">
  <ds:schemaRefs/>
</ds:datastoreItem>
</file>

<file path=customXml/itemProps39.xml><?xml version="1.0" encoding="utf-8"?>
<ds:datastoreItem xmlns:ds="http://schemas.openxmlformats.org/officeDocument/2006/customXml" ds:itemID="{3927B837-94F9-4E7E-89D8-DC43803E2B7B}">
  <ds:schemaRefs/>
</ds:datastoreItem>
</file>

<file path=customXml/itemProps4.xml><?xml version="1.0" encoding="utf-8"?>
<ds:datastoreItem xmlns:ds="http://schemas.openxmlformats.org/officeDocument/2006/customXml" ds:itemID="{0D9CAA80-7E00-475E-AF51-5995D440B641}">
  <ds:schemaRefs/>
</ds:datastoreItem>
</file>

<file path=customXml/itemProps40.xml><?xml version="1.0" encoding="utf-8"?>
<ds:datastoreItem xmlns:ds="http://schemas.openxmlformats.org/officeDocument/2006/customXml" ds:itemID="{FE3FE12B-4B90-4A49-ABD6-BFE6EF5FC7AD}">
  <ds:schemaRefs/>
</ds:datastoreItem>
</file>

<file path=customXml/itemProps41.xml><?xml version="1.0" encoding="utf-8"?>
<ds:datastoreItem xmlns:ds="http://schemas.openxmlformats.org/officeDocument/2006/customXml" ds:itemID="{BBFCDDD1-5DA9-46EB-B41C-4ECD07EDEB33}">
  <ds:schemaRefs>
    <ds:schemaRef ds:uri="http://schemas.microsoft.com/sharepoint/v3/contenttype/forms"/>
  </ds:schemaRefs>
</ds:datastoreItem>
</file>

<file path=customXml/itemProps42.xml><?xml version="1.0" encoding="utf-8"?>
<ds:datastoreItem xmlns:ds="http://schemas.openxmlformats.org/officeDocument/2006/customXml" ds:itemID="{1784D87C-84A2-4F13-8017-90677C7A5FFC}">
  <ds:schemaRefs/>
</ds:datastoreItem>
</file>

<file path=customXml/itemProps43.xml><?xml version="1.0" encoding="utf-8"?>
<ds:datastoreItem xmlns:ds="http://schemas.openxmlformats.org/officeDocument/2006/customXml" ds:itemID="{15DE4483-54EC-465F-A3AB-40A1C238F80F}">
  <ds:schemaRefs/>
</ds:datastoreItem>
</file>

<file path=customXml/itemProps44.xml><?xml version="1.0" encoding="utf-8"?>
<ds:datastoreItem xmlns:ds="http://schemas.openxmlformats.org/officeDocument/2006/customXml" ds:itemID="{F0F7591E-7ED8-46A5-BC3A-F38FC5F58623}">
  <ds:schemaRefs/>
</ds:datastoreItem>
</file>

<file path=customXml/itemProps45.xml><?xml version="1.0" encoding="utf-8"?>
<ds:datastoreItem xmlns:ds="http://schemas.openxmlformats.org/officeDocument/2006/customXml" ds:itemID="{978DC89B-05B6-4355-B7F1-AEF369CDFBA3}">
  <ds:schemaRefs/>
</ds:datastoreItem>
</file>

<file path=customXml/itemProps46.xml><?xml version="1.0" encoding="utf-8"?>
<ds:datastoreItem xmlns:ds="http://schemas.openxmlformats.org/officeDocument/2006/customXml" ds:itemID="{C6FC5F45-F3F9-48C3-854E-1638977D8BBD}">
  <ds:schemaRefs/>
</ds:datastoreItem>
</file>

<file path=customXml/itemProps47.xml><?xml version="1.0" encoding="utf-8"?>
<ds:datastoreItem xmlns:ds="http://schemas.openxmlformats.org/officeDocument/2006/customXml" ds:itemID="{3FDFB74B-06AF-4D57-AB7C-4FF2684C0882}">
  <ds:schemaRefs/>
</ds:datastoreItem>
</file>

<file path=customXml/itemProps48.xml><?xml version="1.0" encoding="utf-8"?>
<ds:datastoreItem xmlns:ds="http://schemas.openxmlformats.org/officeDocument/2006/customXml" ds:itemID="{227F4A57-CDC0-4D80-A7D4-1FB44163E9DE}">
  <ds:schemaRefs/>
</ds:datastoreItem>
</file>

<file path=customXml/itemProps49.xml><?xml version="1.0" encoding="utf-8"?>
<ds:datastoreItem xmlns:ds="http://schemas.openxmlformats.org/officeDocument/2006/customXml" ds:itemID="{884F85BD-E87A-4FB7-84AC-998D51F53321}">
  <ds:schemaRefs/>
</ds:datastoreItem>
</file>

<file path=customXml/itemProps5.xml><?xml version="1.0" encoding="utf-8"?>
<ds:datastoreItem xmlns:ds="http://schemas.openxmlformats.org/officeDocument/2006/customXml" ds:itemID="{AC0C9711-190F-4017-B0D5-2516AB02C7E7}">
  <ds:schemaRefs/>
</ds:datastoreItem>
</file>

<file path=customXml/itemProps50.xml><?xml version="1.0" encoding="utf-8"?>
<ds:datastoreItem xmlns:ds="http://schemas.openxmlformats.org/officeDocument/2006/customXml" ds:itemID="{BE68BC13-3F0D-4B10-81F9-B6649846BC59}">
  <ds:schemaRefs/>
</ds:datastoreItem>
</file>

<file path=customXml/itemProps51.xml><?xml version="1.0" encoding="utf-8"?>
<ds:datastoreItem xmlns:ds="http://schemas.openxmlformats.org/officeDocument/2006/customXml" ds:itemID="{1946ABCA-C1BE-45B0-B967-9D36796C4F64}">
  <ds:schemaRefs/>
</ds:datastoreItem>
</file>

<file path=customXml/itemProps6.xml><?xml version="1.0" encoding="utf-8"?>
<ds:datastoreItem xmlns:ds="http://schemas.openxmlformats.org/officeDocument/2006/customXml" ds:itemID="{97F0225C-9913-41EA-8B63-D4AC31129A63}">
  <ds:schemaRefs/>
</ds:datastoreItem>
</file>

<file path=customXml/itemProps7.xml><?xml version="1.0" encoding="utf-8"?>
<ds:datastoreItem xmlns:ds="http://schemas.openxmlformats.org/officeDocument/2006/customXml" ds:itemID="{611F377E-33F0-4CAC-950E-562B8F8BFE88}">
  <ds:schemaRefs/>
</ds:datastoreItem>
</file>

<file path=customXml/itemProps8.xml><?xml version="1.0" encoding="utf-8"?>
<ds:datastoreItem xmlns:ds="http://schemas.openxmlformats.org/officeDocument/2006/customXml" ds:itemID="{6B369123-622A-4456-866D-8175B31062CE}">
  <ds:schemaRefs/>
</ds:datastoreItem>
</file>

<file path=customXml/itemProps9.xml><?xml version="1.0" encoding="utf-8"?>
<ds:datastoreItem xmlns:ds="http://schemas.openxmlformats.org/officeDocument/2006/customXml" ds:itemID="{36E91C85-A3AF-4499-8481-33A31171233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98</Words>
  <Application>Microsoft Office PowerPoint</Application>
  <PresentationFormat>On-screen Show (16:9)</PresentationFormat>
  <Paragraphs>100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3" baseType="lpstr">
      <vt:lpstr>Helvetica Neue</vt:lpstr>
      <vt:lpstr>Helvetica Neue Medium</vt:lpstr>
      <vt:lpstr>time</vt:lpstr>
      <vt:lpstr>Arial</vt:lpstr>
      <vt:lpstr>Arial Narrow</vt:lpstr>
      <vt:lpstr>Calibri</vt:lpstr>
      <vt:lpstr>Calibri Light</vt:lpstr>
      <vt:lpstr>Segoe UI</vt:lpstr>
      <vt:lpstr>1_Mayo Clinic Template (White)</vt:lpstr>
      <vt:lpstr>2_Custom Design</vt:lpstr>
      <vt:lpstr>MayoClinicCareNetwork</vt:lpstr>
      <vt:lpstr>Office Theme</vt:lpstr>
      <vt:lpstr>think-cell Slide</vt:lpstr>
      <vt:lpstr>Internship Learning</vt:lpstr>
      <vt:lpstr>Unlocking the Potential of Healthcare Informatics through Disease Code Mapping</vt:lpstr>
      <vt:lpstr>About Me</vt:lpstr>
      <vt:lpstr>Problem Statement </vt:lpstr>
      <vt:lpstr>MCP Patient Data Analysis: Overview </vt:lpstr>
      <vt:lpstr>OMOP (Observational Medical Outcomes Partnership)</vt:lpstr>
      <vt:lpstr>Overview of Reference Table</vt:lpstr>
      <vt:lpstr>Overview of Conversion Process</vt:lpstr>
      <vt:lpstr>Example: Querying the Reference Table</vt:lpstr>
      <vt:lpstr>Future Steps</vt:lpstr>
    </vt:vector>
  </TitlesOfParts>
  <Company>Mayo Clin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RDMP Newco Would Fit</dc:title>
  <dc:creator>Wilke, Chad W., M.B.A.</dc:creator>
  <cp:lastModifiedBy>Sungho Yim</cp:lastModifiedBy>
  <cp:revision>3</cp:revision>
  <dcterms:created xsi:type="dcterms:W3CDTF">2020-09-17T15:09:45Z</dcterms:created>
  <dcterms:modified xsi:type="dcterms:W3CDTF">2023-10-17T23:0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66BCD36FF4D478D2170BB9F0A4159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xd_Signature">
    <vt:lpwstr/>
  </property>
  <property fmtid="{D5CDD505-2E9C-101B-9397-08002B2CF9AE}" pid="9" name="TriggerFlowInfo">
    <vt:lpwstr/>
  </property>
  <property fmtid="{D5CDD505-2E9C-101B-9397-08002B2CF9AE}" pid="10" name="SlidoAppVersion">
    <vt:lpwstr>1.5.0.3313</vt:lpwstr>
  </property>
</Properties>
</file>